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  <p:sldMasterId id="2147483690" r:id="rId2"/>
    <p:sldMasterId id="2147483732" r:id="rId3"/>
  </p:sldMasterIdLst>
  <p:notesMasterIdLst>
    <p:notesMasterId r:id="rId15"/>
  </p:notesMasterIdLst>
  <p:sldIdLst>
    <p:sldId id="352" r:id="rId4"/>
    <p:sldId id="353" r:id="rId5"/>
    <p:sldId id="354" r:id="rId6"/>
    <p:sldId id="357" r:id="rId7"/>
    <p:sldId id="360" r:id="rId8"/>
    <p:sldId id="361" r:id="rId9"/>
    <p:sldId id="358" r:id="rId10"/>
    <p:sldId id="351" r:id="rId11"/>
    <p:sldId id="306" r:id="rId12"/>
    <p:sldId id="308" r:id="rId13"/>
    <p:sldId id="362" r:id="rId14"/>
  </p:sldIdLst>
  <p:sldSz cx="9144000" cy="6858000" type="screen4x3"/>
  <p:notesSz cx="6811963" cy="994568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68EE"/>
    <a:srgbClr val="3668EE"/>
    <a:srgbClr val="0F32EE"/>
    <a:srgbClr val="F8F8F8"/>
    <a:srgbClr val="FFFFCC"/>
    <a:srgbClr val="9CDCCD"/>
    <a:srgbClr val="A3C9D5"/>
    <a:srgbClr val="3FA2CF"/>
    <a:srgbClr val="CDCA50"/>
    <a:srgbClr val="595D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62" autoAdjust="0"/>
    <p:restoredTop sz="94628" autoAdjust="0"/>
  </p:normalViewPr>
  <p:slideViewPr>
    <p:cSldViewPr>
      <p:cViewPr varScale="1">
        <p:scale>
          <a:sx n="110" d="100"/>
          <a:sy n="110" d="100"/>
        </p:scale>
        <p:origin x="1500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9213" y="0"/>
            <a:ext cx="2951162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56D019-4400-4F17-900C-51F1E4ABB094}" type="datetimeFigureOut">
              <a:rPr lang="ru-RU" smtClean="0"/>
              <a:pPr/>
              <a:t>21.06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3637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038" y="4724400"/>
            <a:ext cx="5449887" cy="44751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7213"/>
            <a:ext cx="29511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9213" y="9447213"/>
            <a:ext cx="2951162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F0E343-1F65-42E6-B966-ADA5C514C9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52562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200"/>
              <a:buFont typeface="Calibri"/>
              <a:buNone/>
            </a:pPr>
            <a:fld id="{00000000-1234-1234-1234-123412341234}" type="slidenum">
              <a:rPr lang="ru-RU" smtClean="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pPr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200"/>
                <a:buFont typeface="Calibri"/>
                <a:buNone/>
              </a:pPr>
              <a:t>2</a:t>
            </a:fld>
            <a:endParaRPr lang="ru-RU">
              <a:solidFill>
                <a:prstClr val="black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352047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200"/>
              <a:buFont typeface="Calibri"/>
              <a:buNone/>
            </a:pPr>
            <a:fld id="{00000000-1234-1234-1234-123412341234}" type="slidenum">
              <a:rPr lang="ru-RU" smtClean="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pPr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200"/>
                <a:buFont typeface="Calibri"/>
                <a:buNone/>
              </a:pPr>
              <a:t>3</a:t>
            </a:fld>
            <a:endParaRPr lang="ru-RU">
              <a:solidFill>
                <a:prstClr val="black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589249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buClr>
                <a:prstClr val="black"/>
              </a:buClr>
              <a:buSzPts val="1200"/>
              <a:buFont typeface="Calibri"/>
              <a:buNone/>
            </a:pPr>
            <a:fld id="{00000000-1234-1234-1234-123412341234}" type="slidenum">
              <a:rPr lang="ru-RU" smtClean="0">
                <a:solidFill>
                  <a:prstClr val="black"/>
                </a:solidFill>
                <a:ea typeface="Calibri"/>
                <a:cs typeface="Calibri"/>
                <a:sym typeface="Calibri"/>
              </a:rPr>
              <a:pPr>
                <a:buClr>
                  <a:prstClr val="black"/>
                </a:buClr>
                <a:buSzPts val="1200"/>
                <a:buFont typeface="Calibri"/>
                <a:buNone/>
              </a:pPr>
              <a:t>4</a:t>
            </a:fld>
            <a:endParaRPr lang="ru-RU">
              <a:solidFill>
                <a:prstClr val="black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891334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buClr>
                <a:prstClr val="black"/>
              </a:buClr>
              <a:buSzPts val="1200"/>
              <a:buFont typeface="Calibri"/>
              <a:buNone/>
            </a:pPr>
            <a:fld id="{00000000-1234-1234-1234-123412341234}" type="slidenum">
              <a:rPr lang="ru-RU" smtClean="0">
                <a:solidFill>
                  <a:prstClr val="black"/>
                </a:solidFill>
                <a:ea typeface="Calibri"/>
                <a:cs typeface="Calibri"/>
                <a:sym typeface="Calibri"/>
              </a:rPr>
              <a:pPr>
                <a:buClr>
                  <a:prstClr val="black"/>
                </a:buClr>
                <a:buSzPts val="1200"/>
                <a:buFont typeface="Calibri"/>
                <a:buNone/>
              </a:pPr>
              <a:t>5</a:t>
            </a:fld>
            <a:endParaRPr lang="ru-RU">
              <a:solidFill>
                <a:prstClr val="black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161413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buClr>
                <a:prstClr val="black"/>
              </a:buClr>
              <a:buSzPts val="1200"/>
              <a:buFont typeface="Calibri"/>
              <a:buNone/>
            </a:pPr>
            <a:fld id="{00000000-1234-1234-1234-123412341234}" type="slidenum">
              <a:rPr lang="ru-RU" smtClean="0">
                <a:solidFill>
                  <a:prstClr val="black"/>
                </a:solidFill>
                <a:ea typeface="Calibri"/>
                <a:cs typeface="Calibri"/>
                <a:sym typeface="Calibri"/>
              </a:rPr>
              <a:pPr>
                <a:buClr>
                  <a:prstClr val="black"/>
                </a:buClr>
                <a:buSzPts val="1200"/>
                <a:buFont typeface="Calibri"/>
                <a:buNone/>
              </a:pPr>
              <a:t>6</a:t>
            </a:fld>
            <a:endParaRPr lang="ru-RU">
              <a:solidFill>
                <a:prstClr val="black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08587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buClr>
                <a:prstClr val="black"/>
              </a:buClr>
              <a:buSzPts val="1200"/>
              <a:buFont typeface="Calibri"/>
              <a:buNone/>
            </a:pPr>
            <a:fld id="{00000000-1234-1234-1234-123412341234}" type="slidenum">
              <a:rPr lang="ru-RU" smtClean="0">
                <a:solidFill>
                  <a:prstClr val="black"/>
                </a:solidFill>
                <a:ea typeface="Calibri"/>
                <a:cs typeface="Calibri"/>
                <a:sym typeface="Calibri"/>
              </a:rPr>
              <a:pPr>
                <a:buClr>
                  <a:prstClr val="black"/>
                </a:buClr>
                <a:buSzPts val="1200"/>
                <a:buFont typeface="Calibri"/>
                <a:buNone/>
              </a:pPr>
              <a:t>7</a:t>
            </a:fld>
            <a:endParaRPr lang="ru-RU">
              <a:solidFill>
                <a:prstClr val="black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093380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200"/>
              <a:buFont typeface="Calibri"/>
              <a:buNone/>
            </a:pPr>
            <a:fld id="{00000000-1234-1234-1234-123412341234}" type="slidenum">
              <a:rPr lang="ru-RU" smtClean="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pPr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200"/>
                <a:buFont typeface="Calibri"/>
                <a:buNone/>
              </a:pPr>
              <a:t>9</a:t>
            </a:fld>
            <a:endParaRPr lang="ru-RU">
              <a:solidFill>
                <a:prstClr val="black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128172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200"/>
              <a:buFont typeface="Calibri"/>
              <a:buNone/>
            </a:pPr>
            <a:fld id="{00000000-1234-1234-1234-123412341234}" type="slidenum">
              <a:rPr lang="ru-RU" smtClean="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pPr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200"/>
                <a:buFont typeface="Calibri"/>
                <a:buNone/>
              </a:pPr>
              <a:t>10</a:t>
            </a:fld>
            <a:endParaRPr lang="ru-RU">
              <a:solidFill>
                <a:prstClr val="black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90191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3.xml"/><Relationship Id="rId7" Type="http://schemas.openxmlformats.org/officeDocument/2006/relationships/oleObject" Target="../embeddings/oleObject8.bin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7.xml"/><Relationship Id="rId7" Type="http://schemas.openxmlformats.org/officeDocument/2006/relationships/oleObject" Target="../embeddings/oleObject9.bin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2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1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6.xml"/><Relationship Id="rId7" Type="http://schemas.openxmlformats.org/officeDocument/2006/relationships/oleObject" Target="../embeddings/oleObject11.bin"/><Relationship Id="rId2" Type="http://schemas.openxmlformats.org/officeDocument/2006/relationships/tags" Target="../tags/tag45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8.xml"/><Relationship Id="rId4" Type="http://schemas.openxmlformats.org/officeDocument/2006/relationships/tags" Target="../tags/tag4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51.xml"/><Relationship Id="rId7" Type="http://schemas.openxmlformats.org/officeDocument/2006/relationships/oleObject" Target="../embeddings/oleObject12.bin"/><Relationship Id="rId2" Type="http://schemas.openxmlformats.org/officeDocument/2006/relationships/tags" Target="../tags/tag50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3.xml"/><Relationship Id="rId4" Type="http://schemas.openxmlformats.org/officeDocument/2006/relationships/tags" Target="../tags/tag5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55.xml"/><Relationship Id="rId7" Type="http://schemas.openxmlformats.org/officeDocument/2006/relationships/oleObject" Target="../embeddings/oleObject13.bin"/><Relationship Id="rId2" Type="http://schemas.openxmlformats.org/officeDocument/2006/relationships/tags" Target="../tags/tag54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7.xml"/><Relationship Id="rId4" Type="http://schemas.openxmlformats.org/officeDocument/2006/relationships/tags" Target="../tags/tag56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59.xml"/><Relationship Id="rId7" Type="http://schemas.openxmlformats.org/officeDocument/2006/relationships/oleObject" Target="../embeddings/oleObject14.bin"/><Relationship Id="rId2" Type="http://schemas.openxmlformats.org/officeDocument/2006/relationships/tags" Target="../tags/tag58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3.xml"/><Relationship Id="rId7" Type="http://schemas.openxmlformats.org/officeDocument/2006/relationships/oleObject" Target="../embeddings/oleObject15.bin"/><Relationship Id="rId2" Type="http://schemas.openxmlformats.org/officeDocument/2006/relationships/tags" Target="../tags/tag62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7.xml"/><Relationship Id="rId7" Type="http://schemas.openxmlformats.org/officeDocument/2006/relationships/oleObject" Target="../embeddings/oleObject16.bin"/><Relationship Id="rId2" Type="http://schemas.openxmlformats.org/officeDocument/2006/relationships/tags" Target="../tags/tag66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9.xml"/><Relationship Id="rId4" Type="http://schemas.openxmlformats.org/officeDocument/2006/relationships/tags" Target="../tags/tag6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71.xml"/><Relationship Id="rId7" Type="http://schemas.openxmlformats.org/officeDocument/2006/relationships/oleObject" Target="../embeddings/oleObject17.bin"/><Relationship Id="rId2" Type="http://schemas.openxmlformats.org/officeDocument/2006/relationships/tags" Target="../tags/tag70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3.xml"/><Relationship Id="rId4" Type="http://schemas.openxmlformats.org/officeDocument/2006/relationships/tags" Target="../tags/tag7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0.xml"/><Relationship Id="rId7" Type="http://schemas.openxmlformats.org/officeDocument/2006/relationships/oleObject" Target="../embeddings/oleObject5.bin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4.xml"/><Relationship Id="rId7" Type="http://schemas.openxmlformats.org/officeDocument/2006/relationships/oleObject" Target="../embeddings/oleObject6.bin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8.xml"/><Relationship Id="rId7" Type="http://schemas.openxmlformats.org/officeDocument/2006/relationships/oleObject" Target="../embeddings/oleObject7.bin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1" y="0"/>
          <a:ext cx="15826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6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61" y="0"/>
            <a:ext cx="913374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Дата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239000" y="6357958"/>
            <a:ext cx="1905000" cy="500042"/>
          </a:xfrm>
        </p:spPr>
        <p:txBody>
          <a:bodyPr/>
          <a:lstStyle>
            <a:lvl1pPr>
              <a:defRPr b="1">
                <a:solidFill>
                  <a:srgbClr val="000099"/>
                </a:solidFill>
              </a:defRPr>
            </a:lvl1pPr>
          </a:lstStyle>
          <a:p>
            <a:pPr>
              <a:defRPr/>
            </a:pPr>
            <a:fld id="{63629F27-95DF-4F53-95BD-A204EEAC714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50198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87112" tIns="43554" rIns="87112" bIns="43554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1" y="1600235"/>
            <a:ext cx="4038600" cy="4525963"/>
          </a:xfrm>
          <a:prstGeom prst="rect">
            <a:avLst/>
          </a:prstGeom>
        </p:spPr>
        <p:txBody>
          <a:bodyPr lIns="87112" tIns="43554" rIns="87112" bIns="43554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2" y="1600200"/>
            <a:ext cx="4038600" cy="2185988"/>
          </a:xfrm>
          <a:prstGeom prst="rect">
            <a:avLst/>
          </a:prstGeom>
        </p:spPr>
        <p:txBody>
          <a:bodyPr lIns="87112" tIns="43554" rIns="87112" bIns="43554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2" y="3938660"/>
            <a:ext cx="4038600" cy="2187575"/>
          </a:xfrm>
          <a:prstGeom prst="rect">
            <a:avLst/>
          </a:prstGeom>
        </p:spPr>
        <p:txBody>
          <a:bodyPr lIns="87112" tIns="43554" rIns="87112" bIns="43554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792070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792070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2930" y="6245810"/>
            <a:ext cx="2133281" cy="475000"/>
          </a:xfrm>
        </p:spPr>
        <p:txBody>
          <a:bodyPr lIns="87097" tIns="43548" rIns="87097" bIns="43548"/>
          <a:lstStyle>
            <a:lvl1pPr defTabSz="792070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8BD75B9D-A339-48BB-90F1-8806F02E379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8123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6315" y="274689"/>
            <a:ext cx="8231370" cy="585149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117E4F-8D5C-47CA-BE9F-022CB7AB81DB}" type="datetimeFigureOut">
              <a:rPr lang="ru-RU"/>
              <a:pPr>
                <a:defRPr/>
              </a:pPr>
              <a:t>21.06.2019</a:t>
            </a:fld>
            <a:endParaRPr lang="uk-UA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696099-30D3-4F02-B630-3D6002CAD4FF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3995993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9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88" indent="0">
              <a:buNone/>
              <a:defRPr sz="1200"/>
            </a:lvl2pPr>
            <a:lvl3pPr marL="914174" indent="0">
              <a:buNone/>
              <a:defRPr sz="1000"/>
            </a:lvl3pPr>
            <a:lvl4pPr marL="1371261" indent="0">
              <a:buNone/>
              <a:defRPr sz="900"/>
            </a:lvl4pPr>
            <a:lvl5pPr marL="1828348" indent="0">
              <a:buNone/>
              <a:defRPr sz="900"/>
            </a:lvl5pPr>
            <a:lvl6pPr marL="2285434" indent="0">
              <a:buNone/>
              <a:defRPr sz="900"/>
            </a:lvl6pPr>
            <a:lvl7pPr marL="2742522" indent="0">
              <a:buNone/>
              <a:defRPr sz="900"/>
            </a:lvl7pPr>
            <a:lvl8pPr marL="3199609" indent="0">
              <a:buNone/>
              <a:defRPr sz="900"/>
            </a:lvl8pPr>
            <a:lvl9pPr marL="3656696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E01718-5525-4CFC-AE8F-4675E4F3699F}" type="datetimeFigureOut">
              <a:rPr lang="ru-RU"/>
              <a:pPr>
                <a:defRPr/>
              </a:pPr>
              <a:t>21.06.2019</a:t>
            </a:fld>
            <a:endParaRPr lang="uk-UA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DAB61E-AB66-4938-9962-F6FCCBD1FB68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1302205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2000" y="-1"/>
            <a:ext cx="8640000" cy="684000"/>
          </a:xfrm>
        </p:spPr>
        <p:txBody>
          <a:bodyPr>
            <a:noAutofit/>
          </a:bodyPr>
          <a:lstStyle>
            <a:lvl1pPr algn="l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9" name="Номер слайда 18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505200" y="6541544"/>
            <a:ext cx="2133600" cy="360000"/>
          </a:xfrm>
          <a:prstGeom prst="rect">
            <a:avLst/>
          </a:prstGeom>
        </p:spPr>
        <p:txBody>
          <a:bodyPr vert="horz" lIns="91417" tIns="45709" rIns="91417" bIns="45709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B19B0651-EE4F-4900-A07F-96A6BFA9D0F0}" type="slidenum">
              <a:rPr lang="ru-RU" sz="1400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2048" y="836660"/>
            <a:ext cx="8639908" cy="4464595"/>
          </a:xfrm>
        </p:spPr>
        <p:txBody>
          <a:bodyPr>
            <a:noAutofit/>
          </a:bodyPr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ru-RU" dirty="0"/>
              <a:t>Текстовый блок</a:t>
            </a:r>
          </a:p>
        </p:txBody>
      </p:sp>
    </p:spTree>
    <p:extLst>
      <p:ext uri="{BB962C8B-B14F-4D97-AF65-F5344CB8AC3E}">
        <p14:creationId xmlns:p14="http://schemas.microsoft.com/office/powerpoint/2010/main" val="931590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 bwMode="auto">
          <a:xfrm>
            <a:off x="2" y="-29294"/>
            <a:ext cx="9134475" cy="617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9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2F92D1E8-88E4-451B-9DD0-A4001FC63C9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17133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1" y="0"/>
          <a:ext cx="15826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6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61" y="0"/>
            <a:ext cx="913374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9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0564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570A206C-D74E-4F3A-AC11-46F3596FF3E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22512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8" b="1413"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239000" y="6357938"/>
            <a:ext cx="1905000" cy="500062"/>
          </a:xfrm>
        </p:spPr>
        <p:txBody>
          <a:bodyPr/>
          <a:lstStyle>
            <a:lvl1pPr>
              <a:defRPr b="1">
                <a:solidFill>
                  <a:srgbClr val="000099"/>
                </a:solidFill>
              </a:defRPr>
            </a:lvl1pPr>
          </a:lstStyle>
          <a:p>
            <a:pPr>
              <a:defRPr/>
            </a:pPr>
            <a:fld id="{7576C72B-3D68-44DD-8958-DA05FE9B47E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4522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8" b="1413"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6B215B30-49FC-4069-BDE8-461E69138B0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878407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Пользователь\Desktop\ЗАКИНУТЬ В БАЗУ\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94" y="2546388"/>
            <a:ext cx="1820863" cy="1497013"/>
          </a:xfrm>
          <a:prstGeom prst="rect">
            <a:avLst/>
          </a:prstGeom>
          <a:noFill/>
          <a:ln w="3175">
            <a:solidFill>
              <a:srgbClr val="7F7F7F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 bwMode="auto">
          <a:xfrm>
            <a:off x="2281927" y="2544068"/>
            <a:ext cx="5793599" cy="1506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>
              <a:defRPr sz="2000" b="1" cap="all"/>
            </a:lvl1pPr>
          </a:lstStyle>
          <a:p>
            <a:pPr lvl="0"/>
            <a:r>
              <a:rPr lang="ru-RU" noProof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943384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Пользователь\Desktop\ЗАКИНУТЬ В БАЗУ\left.t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83" b="911"/>
          <a:stretch>
            <a:fillRect/>
          </a:stretch>
        </p:blipFill>
        <p:spPr bwMode="auto">
          <a:xfrm>
            <a:off x="-9524" y="0"/>
            <a:ext cx="91535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Номер слайда 4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153988" y="6453188"/>
            <a:ext cx="1905000" cy="252412"/>
          </a:xfrm>
        </p:spPr>
        <p:txBody>
          <a:bodyPr/>
          <a:lstStyle>
            <a:lvl1pPr algn="l"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202AFBB8-E193-4535-8A91-7BF72356D66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63871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1" y="0"/>
          <a:ext cx="15826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6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61" y="0"/>
            <a:ext cx="913374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0564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545F1E3A-80B4-4694-A5BA-800C063ACE2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3287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5" y="113274"/>
            <a:ext cx="8784976" cy="490066"/>
          </a:xfrm>
        </p:spPr>
        <p:txBody>
          <a:bodyPr>
            <a:normAutofit/>
          </a:bodyPr>
          <a:lstStyle>
            <a:lvl1pPr>
              <a:defRPr sz="2000" b="1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defRPr sz="16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4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4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453226"/>
            <a:ext cx="2133600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16D0AC-87EA-42FF-8305-15D5C361CA5F}" type="datetime1">
              <a:rPr lang="ru-RU"/>
              <a:pPr>
                <a:defRPr/>
              </a:pPr>
              <a:t>21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453226"/>
            <a:ext cx="2895600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453226"/>
            <a:ext cx="2133600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E2C9E8-DC87-44C5-9F34-0AEC85202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95362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88"/>
            <a:ext cx="2133600" cy="365125"/>
          </a:xfrm>
        </p:spPr>
        <p:txBody>
          <a:bodyPr lIns="87105" tIns="43552" rIns="87105" bIns="43552"/>
          <a:lstStyle>
            <a:lvl1pPr>
              <a:defRPr sz="17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42DF8BBB-11EF-4233-8103-5192787002F0}" type="datetime1">
              <a:rPr lang="ru-RU"/>
              <a:pPr>
                <a:defRPr/>
              </a:pPr>
              <a:t>21.06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88"/>
            <a:ext cx="2895600" cy="365125"/>
          </a:xfrm>
        </p:spPr>
        <p:txBody>
          <a:bodyPr lIns="87105" tIns="43552" rIns="87105" bIns="43552"/>
          <a:lstStyle>
            <a:lvl1pPr>
              <a:defRPr sz="17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9750698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8" b="1413"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88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8BB689E5-6BF1-4C93-AD9F-0DE8B78E08E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22050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8" b="1413"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88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87423810-FCB7-4BF8-873A-CDC5B6CBF2E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99475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8" b="1413"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88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890C69E5-9CC4-4A29-B384-613AD3C33CF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55992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8" b="1413"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88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B7DC10CC-80B7-4690-8DDD-A451B4E4F9D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24487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F692DFE0-2BA3-4F26-B415-F1FD38FD3B9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03600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87133" tIns="43565" rIns="87133" bIns="43565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35"/>
            <a:ext cx="4038600" cy="4525963"/>
          </a:xfrm>
          <a:prstGeom prst="rect">
            <a:avLst/>
          </a:prstGeom>
        </p:spPr>
        <p:txBody>
          <a:bodyPr lIns="87133" tIns="43565" rIns="87133" bIns="43565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2" y="1600200"/>
            <a:ext cx="4038600" cy="2185988"/>
          </a:xfrm>
          <a:prstGeom prst="rect">
            <a:avLst/>
          </a:prstGeom>
        </p:spPr>
        <p:txBody>
          <a:bodyPr lIns="87133" tIns="43565" rIns="87133" bIns="43565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2" y="3938658"/>
            <a:ext cx="4038600" cy="2187575"/>
          </a:xfrm>
          <a:prstGeom prst="rect">
            <a:avLst/>
          </a:prstGeom>
        </p:spPr>
        <p:txBody>
          <a:bodyPr lIns="87133" tIns="43565" rIns="87133" bIns="43565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 lIns="87118" tIns="43560" rIns="87118" bIns="43560"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19521E6D-C280-4952-B2D2-C0AE82B58D7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79364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8" b="1413"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88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01406DA7-55FF-4E6A-A308-2D6B553578B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290172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6315" y="274689"/>
            <a:ext cx="8231370" cy="585149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117E4F-8D5C-47CA-BE9F-022CB7AB81DB}" type="datetimeFigureOut">
              <a:rPr lang="ru-RU"/>
              <a:pPr>
                <a:defRPr/>
              </a:pPr>
              <a:t>21.06.2019</a:t>
            </a:fld>
            <a:endParaRPr lang="uk-UA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E9843B-F1F9-47B0-A374-9D5220B85D37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893751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Пользователь\Desktop\ЗАКИНУТЬ В БАЗУ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5833" y="2546392"/>
            <a:ext cx="1821474" cy="1497013"/>
          </a:xfrm>
          <a:prstGeom prst="rect">
            <a:avLst/>
          </a:prstGeom>
          <a:noFill/>
          <a:ln w="3175">
            <a:solidFill>
              <a:srgbClr val="7F7F7F"/>
            </a:solidFill>
            <a:prstDash val="sysDot"/>
            <a:miter lim="800000"/>
            <a:headEnd/>
            <a:tailEnd/>
          </a:ln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 bwMode="auto">
          <a:xfrm>
            <a:off x="2281929" y="2544068"/>
            <a:ext cx="5793599" cy="1506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>
              <a:defRPr sz="2000" b="1" cap="all"/>
            </a:lvl1pPr>
          </a:lstStyle>
          <a:p>
            <a:pPr lvl="0"/>
            <a:r>
              <a:rPr lang="ru-RU" noProof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948946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89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E01718-5525-4CFC-AE8F-4675E4F3699F}" type="datetimeFigureOut">
              <a:rPr lang="ru-RU"/>
              <a:pPr>
                <a:defRPr/>
              </a:pPr>
              <a:t>21.06.2019</a:t>
            </a:fld>
            <a:endParaRPr lang="uk-UA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E28266-FBC2-49D9-B2BB-C8D6F5476CF2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2654903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8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505200" y="6542126"/>
            <a:ext cx="2133600" cy="358775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4FE65A28-D1F2-4983-9942-D3E8C3B1CDD3}" type="slidenum">
              <a:rPr lang="ru-RU" sz="1400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2000" y="-1"/>
            <a:ext cx="8640000" cy="684000"/>
          </a:xfrm>
        </p:spPr>
        <p:txBody>
          <a:bodyPr>
            <a:noAutofit/>
          </a:bodyPr>
          <a:lstStyle>
            <a:lvl1pPr algn="l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Образец заголовка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0"/>
          </p:nvPr>
        </p:nvSpPr>
        <p:spPr>
          <a:xfrm>
            <a:off x="252048" y="836658"/>
            <a:ext cx="8639908" cy="4464595"/>
          </a:xfrm>
        </p:spPr>
        <p:txBody>
          <a:bodyPr>
            <a:noAutofit/>
          </a:bodyPr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US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566977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63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8E8F7C-2F2E-4042-B659-D08476BA00B1}" type="datetimeFigureOut">
              <a:rPr lang="ru-RU"/>
              <a:pPr>
                <a:defRPr/>
              </a:pPr>
              <a:t>21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6CBF63-5B52-4BDD-AE16-E96D80DF32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4025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37ACA8-DFCE-4A35-AB61-BD9C4419C184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val="35301103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A1A97-B496-4BE1-BB2D-E7173ADE1D27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val="41476944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0C25BB-1A6B-475A-9A4F-420BEC452777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val="34362601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F3A4B2-1596-4A77-AB61-98FB246C36F8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val="7078688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1B0B5A-04BC-4817-83B5-FA7AB7AC0CB8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val="10760813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D11B5C-C87C-4C21-8ED5-837356B4999E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val="261265135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2EC296-1CCE-4E10-B27F-CC19D9D7B424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val="852227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Пользователь\Desktop\ЗАКИНУТЬ В БАЗУ\left.ti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791" y="0"/>
            <a:ext cx="915279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Номер слайда 4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153866" y="6453188"/>
            <a:ext cx="1905000" cy="252412"/>
          </a:xfrm>
        </p:spPr>
        <p:txBody>
          <a:bodyPr/>
          <a:lstStyle>
            <a:lvl1pPr algn="l"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D2702B33-E5AC-4CAC-AA28-B5DE7572C39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489909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025649-2DE1-44A8-B4F3-283FB1E28F21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val="10895204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uk-UA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077788-D583-4AD5-A0B3-1F9616AF97A4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val="3167315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8A5D33-46AC-411C-9257-C180457EB776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val="21972977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3523A7-77B1-4DBA-96B0-462E32CEDDA6}" type="slidenum">
              <a:rPr lang="en-US" altLang="uk-UA"/>
              <a:pPr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val="16601258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1" y="0"/>
          <a:ext cx="15826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6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61" y="0"/>
            <a:ext cx="913374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9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0564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570A206C-D74E-4F3A-AC11-46F3596FF3E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29539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1" y="0"/>
          <a:ext cx="15826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6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61" y="0"/>
            <a:ext cx="913374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9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0564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570A206C-D74E-4F3A-AC11-46F3596FF3E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76120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1" y="0"/>
          <a:ext cx="15826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6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61" y="0"/>
            <a:ext cx="913374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9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0564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570A206C-D74E-4F3A-AC11-46F3596FF3E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72114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1" y="0"/>
          <a:ext cx="15826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6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61" y="0"/>
            <a:ext cx="913374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9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0564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570A206C-D74E-4F3A-AC11-46F3596FF3E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73790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2192F662-CC23-4796-BB08-D664EDFAF7F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1062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tags" Target="../tags/tag40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39"/>
            <a:ext cx="9144000" cy="682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17" tIns="45709" rIns="91417" bIns="4570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453188"/>
            <a:ext cx="19050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 Narrow" pitchFamily="34" charset="0"/>
                <a:cs typeface="+mn-cs"/>
              </a:defRPr>
            </a:lvl1pPr>
          </a:lstStyle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53188"/>
            <a:ext cx="28956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 Narrow" pitchFamily="34" charset="0"/>
                <a:cs typeface="+mn-cs"/>
              </a:defRPr>
            </a:lvl1pPr>
          </a:lstStyle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53188"/>
            <a:ext cx="19050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 Narrow" pitchFamily="34" charset="0"/>
                <a:cs typeface="+mn-cs"/>
              </a:defRPr>
            </a:lvl1pPr>
          </a:lstStyle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fld id="{AB167E24-9E82-4B8A-B59E-EC6BF27FBF33}" type="slidenum">
              <a:rPr lang="ru-RU"/>
              <a:pPr defTabSz="914174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/>
          </a:p>
        </p:txBody>
      </p:sp>
      <p:pic>
        <p:nvPicPr>
          <p:cNvPr id="7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61" y="0"/>
            <a:ext cx="913374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30370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5pPr>
      <a:lvl6pPr marL="457088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6pPr>
      <a:lvl7pPr marL="914174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7pPr>
      <a:lvl8pPr marL="1371261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8pPr>
      <a:lvl9pPr marL="1828348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9pPr>
    </p:titleStyle>
    <p:bodyStyle>
      <a:lvl1pPr marL="342814" indent="-342814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742767" indent="-28568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Arial Narrow" pitchFamily="34" charset="0"/>
        </a:defRPr>
      </a:lvl2pPr>
      <a:lvl3pPr marL="1142718" indent="-22854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 Narrow" pitchFamily="34" charset="0"/>
        </a:defRPr>
      </a:lvl3pPr>
      <a:lvl4pPr marL="1599804" indent="-22854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 Narrow" pitchFamily="34" charset="0"/>
        </a:defRPr>
      </a:lvl4pPr>
      <a:lvl5pPr marL="2056892" indent="-22854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 Narrow" pitchFamily="34" charset="0"/>
        </a:defRPr>
      </a:lvl5pPr>
      <a:lvl6pPr marL="2513978" indent="-22854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065" indent="-22854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8152" indent="-22854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5239" indent="-22854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8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1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8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2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9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38"/>
            <a:ext cx="9144000" cy="68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453188"/>
            <a:ext cx="19050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 Narrow" pitchFamily="34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53188"/>
            <a:ext cx="28956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 Narrow" pitchFamily="34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53188"/>
            <a:ext cx="19050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 Narrow" pitchFamily="34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6156C5F-1140-44A6-A9A9-57DE13C1C5F3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/>
          </a:p>
        </p:txBody>
      </p:sp>
      <p:pic>
        <p:nvPicPr>
          <p:cNvPr id="2055" name="Picture 2" descr="C:\Users\Пользователь\Desktop\ЗАКИНУТЬ В БАЗУ\right.tif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8" b="1413"/>
          <a:stretch>
            <a:fillRect/>
          </a:stretch>
        </p:blipFill>
        <p:spPr bwMode="auto">
          <a:xfrm>
            <a:off x="9527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0348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Arial Narrow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 Narrow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 Narrow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 Narrow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uk-UA"/>
              <a:t>Образец заголовка</a:t>
            </a:r>
            <a:endParaRPr lang="en-US" altLang="uk-UA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uk-UA"/>
              <a:t>Образец текста</a:t>
            </a:r>
          </a:p>
          <a:p>
            <a:pPr lvl="1"/>
            <a:r>
              <a:rPr lang="ru-RU" altLang="uk-UA"/>
              <a:t>Второй уровень</a:t>
            </a:r>
          </a:p>
          <a:p>
            <a:pPr lvl="2"/>
            <a:r>
              <a:rPr lang="ru-RU" altLang="uk-UA"/>
              <a:t>Третий уровень</a:t>
            </a:r>
          </a:p>
          <a:p>
            <a:pPr lvl="3"/>
            <a:r>
              <a:rPr lang="ru-RU" altLang="uk-UA"/>
              <a:t>Четвертый уровень</a:t>
            </a:r>
          </a:p>
          <a:p>
            <a:pPr lvl="4"/>
            <a:r>
              <a:rPr lang="ru-RU" altLang="uk-UA"/>
              <a:t>Пятый уровень</a:t>
            </a:r>
            <a:endParaRPr lang="en-US" altLang="uk-UA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uk-UA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uk-UA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2625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BC927D-B7DB-46CC-8756-9ABC123805DF}" type="slidenum">
              <a:rPr lang="en-US" altLang="uk-U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val="1854969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Helvetica Neue UltraLight" pitchFamily="1" charset="0"/>
          <a:ea typeface="MS PGothic" pitchFamily="34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Helvetica Neue UltraLight" pitchFamily="1" charset="0"/>
          <a:ea typeface="MS PGothic" pitchFamily="34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Helvetica Neue UltraLight" pitchFamily="1" charset="0"/>
          <a:ea typeface="MS PGothic" pitchFamily="34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Helvetica Neue UltraLight" pitchFamily="1" charset="0"/>
          <a:ea typeface="MS PGothic" pitchFamily="34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Helvetica Neue UltraLight" pitchFamily="1" charset="0"/>
          <a:ea typeface="MS PGothic" pitchFamily="34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Helvetica Neue UltraLight" pitchFamily="1" charset="0"/>
          <a:ea typeface="MS PGothic" pitchFamily="34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Helvetica Neue UltraLight" pitchFamily="1" charset="0"/>
          <a:ea typeface="MS PGothic" pitchFamily="34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Helvetica Neue UltraLight" pitchFamily="1" charset="0"/>
          <a:ea typeface="MS PGothic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1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Title 1"/>
          <p:cNvSpPr>
            <a:spLocks noGrp="1"/>
          </p:cNvSpPr>
          <p:nvPr>
            <p:ph type="ctrTitle" idx="4294967295"/>
          </p:nvPr>
        </p:nvSpPr>
        <p:spPr>
          <a:xfrm>
            <a:off x="2699792" y="2204864"/>
            <a:ext cx="3672408" cy="2304256"/>
          </a:xfrm>
        </p:spPr>
        <p:txBody>
          <a:bodyPr>
            <a:scene3d>
              <a:camera prst="orthographicFront"/>
              <a:lightRig rig="threePt" dir="t"/>
            </a:scene3d>
            <a:sp3d extrusionH="57150">
              <a:bevelT h="25400" prst="softRound"/>
            </a:sp3d>
          </a:bodyPr>
          <a:lstStyle/>
          <a:p>
            <a:pPr algn="ctr" eaLnBrk="1" hangingPunct="1"/>
            <a:r>
              <a:rPr lang="uk-UA" sz="2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2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28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28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2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2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2800" b="1" dirty="0" smtClean="0">
                <a:solidFill>
                  <a:srgbClr val="00B0F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Нова редакція Закону «Про публічні закупівлі»</a:t>
            </a:r>
            <a:br>
              <a:rPr lang="uk-UA" sz="2800" b="1" dirty="0" smtClean="0">
                <a:solidFill>
                  <a:srgbClr val="00B0F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uk-UA" sz="2800" b="1" dirty="0" smtClean="0">
                <a:solidFill>
                  <a:srgbClr val="00B0F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/>
            </a:r>
            <a:br>
              <a:rPr lang="uk-UA" sz="2800" b="1" dirty="0" smtClean="0">
                <a:solidFill>
                  <a:srgbClr val="00B0F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uk-UA" sz="2400" b="1" dirty="0" smtClean="0">
                <a:solidFill>
                  <a:srgbClr val="00B0F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Лілія Лахтіонова</a:t>
            </a:r>
            <a:r>
              <a:rPr lang="ru-RU" sz="2800" dirty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28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2800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uk-UA" sz="2400" b="1" dirty="0">
                <a:solidFill>
                  <a:srgbClr val="005F8B"/>
                </a:solidFill>
                <a:latin typeface="Calibri" panose="020F0502020204030204" pitchFamily="34" charset="0"/>
                <a:ea typeface="Open Sans" pitchFamily="34" charset="0"/>
                <a:cs typeface="Calibri" panose="020F0502020204030204" pitchFamily="34" charset="0"/>
              </a:rPr>
              <a:t/>
            </a:r>
            <a:br>
              <a:rPr lang="ru-RU" altLang="uk-UA" sz="2400" b="1" dirty="0">
                <a:solidFill>
                  <a:srgbClr val="005F8B"/>
                </a:solidFill>
                <a:latin typeface="Calibri" panose="020F0502020204030204" pitchFamily="34" charset="0"/>
                <a:ea typeface="Open Sans" pitchFamily="34" charset="0"/>
                <a:cs typeface="Calibri" panose="020F0502020204030204" pitchFamily="34" charset="0"/>
              </a:rPr>
            </a:br>
            <a:endParaRPr lang="en" altLang="uk-UA" sz="3200" b="1" dirty="0">
              <a:solidFill>
                <a:srgbClr val="005F8B"/>
              </a:solidFill>
              <a:latin typeface="Calibri" panose="020F0502020204030204" pitchFamily="34" charset="0"/>
              <a:ea typeface="Open Sans" pitchFamily="34" charset="0"/>
              <a:cs typeface="Calibri" panose="020F0502020204030204" pitchFamily="34" charset="0"/>
            </a:endParaRPr>
          </a:p>
        </p:txBody>
      </p:sp>
      <p:sp>
        <p:nvSpPr>
          <p:cNvPr id="2" name="Овал 1"/>
          <p:cNvSpPr/>
          <p:nvPr/>
        </p:nvSpPr>
        <p:spPr>
          <a:xfrm>
            <a:off x="265043" y="4373217"/>
            <a:ext cx="3472070" cy="223961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037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C4C632D-B8C6-42E2-A9F9-5C7B1F94E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27048" cy="764704"/>
          </a:xfr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uk-UA" sz="3600" dirty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в</a:t>
            </a:r>
            <a:r>
              <a:rPr lang="uk-UA" sz="36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ажливі </a:t>
            </a:r>
            <a:r>
              <a:rPr lang="uk-UA" sz="3600" dirty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зміни</a:t>
            </a:r>
            <a:endParaRPr lang="ru-RU" sz="3600" dirty="0">
              <a:solidFill>
                <a:srgbClr val="00B0F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63D6218-0CE5-4A98-BB7E-1BC412CE1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5576" y="1097280"/>
            <a:ext cx="7735977" cy="5415280"/>
          </a:xfrm>
        </p:spPr>
        <p:txBody>
          <a:bodyPr>
            <a:normAutofit fontScale="85000" lnSpcReduction="20000"/>
          </a:bodyPr>
          <a:lstStyle/>
          <a:p>
            <a:pPr marL="984250" indent="-742950" algn="just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400" b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ередтендерні</a:t>
            </a: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400" b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консультації</a:t>
            </a: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– як </a:t>
            </a:r>
            <a:r>
              <a:rPr lang="ru-RU" sz="2400" b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спосіб</a:t>
            </a: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400" b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ланування</a:t>
            </a: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</a:p>
          <a:p>
            <a:pPr marL="984250" indent="-742950" algn="just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400" b="1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ідповідальність</a:t>
            </a:r>
            <a:r>
              <a:rPr lang="ru-RU" sz="2400" b="1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400" b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керівників</a:t>
            </a: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:</a:t>
            </a:r>
          </a:p>
          <a:p>
            <a:pPr marL="241300" indent="0" algn="just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None/>
            </a:pP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 </a:t>
            </a:r>
            <a:r>
              <a:rPr lang="ru-RU" sz="2400" b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невиконання</a:t>
            </a: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400" b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рішення</a:t>
            </a: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АМКУ;</a:t>
            </a:r>
          </a:p>
          <a:p>
            <a:pPr marL="241300" indent="0" algn="just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None/>
            </a:pPr>
            <a:r>
              <a:rPr lang="ru-RU" sz="2400" b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дійснення</a:t>
            </a: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закупівель до/без </a:t>
            </a:r>
            <a:r>
              <a:rPr lang="ru-RU" sz="2400" b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роведення</a:t>
            </a: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процедур; </a:t>
            </a:r>
          </a:p>
          <a:p>
            <a:pPr marL="241300" indent="0" algn="just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None/>
            </a:pP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оплата за договором </a:t>
            </a:r>
            <a:r>
              <a:rPr lang="ru-RU" sz="2400" b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укладеним</a:t>
            </a: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до/без </a:t>
            </a:r>
            <a:r>
              <a:rPr lang="ru-RU" sz="2400" b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роведення</a:t>
            </a: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400" b="1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роцедур.</a:t>
            </a:r>
            <a:endParaRPr lang="ru-RU" sz="2400" b="1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984250" indent="-742950" algn="just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endParaRPr lang="ru-RU" sz="2400" b="1" dirty="0" smtClean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984250" indent="-742950" algn="just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400" b="1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ідміна</a:t>
            </a:r>
            <a:r>
              <a:rPr lang="ru-RU" sz="2400" b="1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400" b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торгів</a:t>
            </a: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=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окремо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дії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мовника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+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дії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,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які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автоматично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дійснюються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системою</a:t>
            </a:r>
            <a:r>
              <a:rPr lang="ru-RU" sz="24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;</a:t>
            </a:r>
          </a:p>
          <a:p>
            <a:pPr marL="984250" indent="-742950" algn="just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endParaRPr lang="ru-RU" sz="24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984250" lvl="0" indent="-742950" algn="just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4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більшення ціни за одиницю товару до 10% </a:t>
            </a:r>
            <a:r>
              <a:rPr lang="ru-RU" sz="24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- 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не частіше ніж один раз на три місяці з моменту підписання договору про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купівлю</a:t>
            </a:r>
            <a:r>
              <a:rPr lang="ru-RU" sz="24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;</a:t>
            </a:r>
          </a:p>
          <a:p>
            <a:pPr marL="984250" lvl="0" indent="-74295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endParaRPr lang="ru-RU" sz="24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  <a:sym typeface="Calibri"/>
            </a:endParaRPr>
          </a:p>
          <a:p>
            <a:pPr marL="228600" lvl="0" indent="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400"/>
              <a:buNone/>
            </a:pPr>
            <a:r>
              <a:rPr lang="ru-RU" sz="24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Договір</a:t>
            </a:r>
            <a:r>
              <a:rPr lang="ru-RU" sz="24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про закупівлю є нікчемним у </a:t>
            </a:r>
            <a:r>
              <a:rPr lang="ru-RU" sz="24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разі</a:t>
            </a:r>
            <a:r>
              <a:rPr lang="ru-RU" sz="24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якщо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замовник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уклав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договір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про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закупівлю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без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проведення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процедури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закупівлі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,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згідно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з </a:t>
            </a:r>
            <a:r>
              <a:rPr lang="ru-RU" sz="24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вимогами</a:t>
            </a:r>
            <a:r>
              <a:rPr lang="ru-RU" sz="24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Закону.</a:t>
            </a:r>
          </a:p>
          <a:p>
            <a:pPr marL="971550" lvl="0" indent="-742950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400"/>
              <a:buFont typeface="Wingdings" panose="05000000000000000000" pitchFamily="2" charset="2"/>
              <a:buChar char="§"/>
            </a:pPr>
            <a:endParaRPr lang="ru-RU" sz="24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  <a:sym typeface="Calibri"/>
            </a:endParaRPr>
          </a:p>
          <a:p>
            <a:endParaRPr lang="ru-RU" dirty="0"/>
          </a:p>
        </p:txBody>
      </p:sp>
      <p:pic>
        <p:nvPicPr>
          <p:cNvPr id="4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424" y="0"/>
            <a:ext cx="652447" cy="652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1246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700" name="Picture 4" descr="Ð ÐµÐ·ÑÐ»ÑÑÐ°Ñ Ð¿Ð¾ÑÑÐºÑ Ð·Ð¾Ð±ÑÐ°Ð¶ÐµÐ½Ñ Ð·Ð° Ð·Ð°Ð¿Ð¸ÑÐ¾Ð¼ &quot;ÑÐ¾ÑÐ¾ ÑÑÐ¿ÑÑÐ½Ð° Ð»ÑÐ´Ð¸Ð½Ð°&quot;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0" y="1901414"/>
            <a:ext cx="5985519" cy="3990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ашивка 1"/>
          <p:cNvSpPr/>
          <p:nvPr/>
        </p:nvSpPr>
        <p:spPr>
          <a:xfrm>
            <a:off x="-1" y="813375"/>
            <a:ext cx="9144000" cy="5934813"/>
          </a:xfrm>
          <a:prstGeom prst="chevron">
            <a:avLst>
              <a:gd name="adj" fmla="val 30281"/>
            </a:avLst>
          </a:prstGeom>
          <a:solidFill>
            <a:srgbClr val="3FA2C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black"/>
              </a:solidFill>
            </a:endParaRPr>
          </a:p>
        </p:txBody>
      </p:sp>
      <p:sp>
        <p:nvSpPr>
          <p:cNvPr id="15" name="Прямокутник 14"/>
          <p:cNvSpPr/>
          <p:nvPr/>
        </p:nvSpPr>
        <p:spPr>
          <a:xfrm>
            <a:off x="5989009" y="5197960"/>
            <a:ext cx="28750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1600">
              <a:buClr>
                <a:srgbClr val="2F5496"/>
              </a:buClr>
              <a:buSzPts val="2000"/>
            </a:pPr>
            <a:r>
              <a:rPr lang="ru-RU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кладення</a:t>
            </a:r>
            <a:r>
              <a:rPr lang="ru-RU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рудового договору (контракту)</a:t>
            </a:r>
          </a:p>
        </p:txBody>
      </p:sp>
      <p:sp>
        <p:nvSpPr>
          <p:cNvPr id="16" name="Прямокутник 15"/>
          <p:cNvSpPr/>
          <p:nvPr/>
        </p:nvSpPr>
        <p:spPr>
          <a:xfrm>
            <a:off x="4218798" y="1032892"/>
            <a:ext cx="46452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prstClr val="white"/>
              </a:buClr>
              <a:buSzPts val="4400"/>
              <a:buFont typeface="Calibri"/>
              <a:buNone/>
            </a:pPr>
            <a:r>
              <a:rPr lang="uk-UA" sz="2800" b="1" dirty="0">
                <a:solidFill>
                  <a:srgbClr val="0070C0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УПОВНОВАЖЕНА ОСОБА</a:t>
            </a:r>
            <a:endParaRPr lang="ru-RU" sz="2800" dirty="0">
              <a:solidFill>
                <a:srgbClr val="0070C0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</p:txBody>
      </p:sp>
      <p:sp>
        <p:nvSpPr>
          <p:cNvPr id="17" name="Прямокутник 16"/>
          <p:cNvSpPr/>
          <p:nvPr/>
        </p:nvSpPr>
        <p:spPr>
          <a:xfrm>
            <a:off x="0" y="-14210"/>
            <a:ext cx="9144000" cy="827585"/>
          </a:xfrm>
          <a:prstGeom prst="rect">
            <a:avLst/>
          </a:prstGeom>
          <a:solidFill>
            <a:srgbClr val="FFC000">
              <a:alpha val="7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2" name="Прямокутник 11"/>
          <p:cNvSpPr/>
          <p:nvPr/>
        </p:nvSpPr>
        <p:spPr>
          <a:xfrm>
            <a:off x="1" y="121365"/>
            <a:ext cx="9144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prstClr val="white"/>
              </a:buClr>
              <a:buSzPts val="4400"/>
              <a:buFont typeface="Calibri"/>
              <a:buNone/>
            </a:pPr>
            <a:r>
              <a:rPr lang="ru-RU" sz="3600" dirty="0" err="1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  <a:sym typeface="Calibri"/>
              </a:rPr>
              <a:t>о</a:t>
            </a:r>
            <a:r>
              <a:rPr lang="ru-RU" sz="3600" dirty="0" err="1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  <a:sym typeface="Calibri"/>
              </a:rPr>
              <a:t>рганізація</a:t>
            </a:r>
            <a:r>
              <a:rPr lang="ru-RU" sz="36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  <a:sym typeface="Calibri"/>
              </a:rPr>
              <a:t> </a:t>
            </a:r>
            <a:r>
              <a:rPr lang="ru-RU" sz="3600" dirty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  <a:sym typeface="Calibri"/>
              </a:rPr>
              <a:t>закупівель</a:t>
            </a:r>
          </a:p>
        </p:txBody>
      </p:sp>
      <p:sp>
        <p:nvSpPr>
          <p:cNvPr id="18" name="Прямокутник 17"/>
          <p:cNvSpPr/>
          <p:nvPr/>
        </p:nvSpPr>
        <p:spPr>
          <a:xfrm>
            <a:off x="5102748" y="1452788"/>
            <a:ext cx="25249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i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шляхи </a:t>
            </a:r>
            <a:r>
              <a:rPr lang="ru-RU" b="1" i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значення</a:t>
            </a:r>
            <a:r>
              <a:rPr lang="ru-RU" b="1" i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</a:t>
            </a:r>
            <a:endParaRPr lang="uk-UA" b="1" dirty="0">
              <a:solidFill>
                <a:schemeClr val="tx2">
                  <a:lumMod val="60000"/>
                  <a:lumOff val="4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Прямокутник 18"/>
          <p:cNvSpPr/>
          <p:nvPr/>
        </p:nvSpPr>
        <p:spPr>
          <a:xfrm>
            <a:off x="5989009" y="2383697"/>
            <a:ext cx="304748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1600">
              <a:buClr>
                <a:srgbClr val="2F5496"/>
              </a:buClr>
              <a:buSzPts val="2000"/>
            </a:pPr>
            <a:r>
              <a:rPr lang="ru-RU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кладення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ов’язків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на штатного </a:t>
            </a:r>
            <a:r>
              <a:rPr lang="ru-RU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ацівника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+ </a:t>
            </a:r>
            <a:r>
              <a:rPr lang="ru-RU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ідповідна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плата</a:t>
            </a:r>
            <a:endParaRPr lang="ru-RU" b="1" dirty="0">
              <a:solidFill>
                <a:schemeClr val="tx2">
                  <a:lumMod val="60000"/>
                  <a:lumOff val="4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Прямокутник 19"/>
          <p:cNvSpPr/>
          <p:nvPr/>
        </p:nvSpPr>
        <p:spPr>
          <a:xfrm>
            <a:off x="5989008" y="3929328"/>
            <a:ext cx="287503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1600">
              <a:buClr>
                <a:srgbClr val="2F5496"/>
              </a:buClr>
              <a:buSzPts val="2000"/>
            </a:pPr>
            <a:r>
              <a:rPr lang="ru-RU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ведення</a:t>
            </a:r>
            <a:r>
              <a:rPr lang="ru-RU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 штатного </a:t>
            </a:r>
            <a:r>
              <a:rPr lang="ru-RU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зпису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кремої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осади</a:t>
            </a:r>
          </a:p>
        </p:txBody>
      </p:sp>
      <p:sp>
        <p:nvSpPr>
          <p:cNvPr id="21" name="Прямокутник 20"/>
          <p:cNvSpPr/>
          <p:nvPr/>
        </p:nvSpPr>
        <p:spPr>
          <a:xfrm>
            <a:off x="5406796" y="2444421"/>
            <a:ext cx="58221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5400" b="1" dirty="0">
                <a:solidFill>
                  <a:srgbClr val="CDCA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uk-UA" sz="5400" dirty="0">
              <a:solidFill>
                <a:srgbClr val="CDCA50"/>
              </a:solidFill>
            </a:endParaRPr>
          </a:p>
        </p:txBody>
      </p:sp>
      <p:sp>
        <p:nvSpPr>
          <p:cNvPr id="24" name="Прямокутник 23"/>
          <p:cNvSpPr/>
          <p:nvPr/>
        </p:nvSpPr>
        <p:spPr>
          <a:xfrm>
            <a:off x="5406797" y="3879867"/>
            <a:ext cx="582211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5400" b="1" dirty="0">
                <a:solidFill>
                  <a:srgbClr val="CDCA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uk-UA" sz="5400" dirty="0">
              <a:solidFill>
                <a:srgbClr val="CDCA50"/>
              </a:solidFill>
            </a:endParaRPr>
          </a:p>
        </p:txBody>
      </p:sp>
      <p:sp>
        <p:nvSpPr>
          <p:cNvPr id="25" name="Прямокутник 24"/>
          <p:cNvSpPr/>
          <p:nvPr/>
        </p:nvSpPr>
        <p:spPr>
          <a:xfrm>
            <a:off x="5496094" y="5148499"/>
            <a:ext cx="50942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5400" b="1" dirty="0">
                <a:solidFill>
                  <a:srgbClr val="CDCA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uk-UA" sz="5400" dirty="0">
              <a:solidFill>
                <a:srgbClr val="CDCA50"/>
              </a:solidFill>
            </a:endParaRPr>
          </a:p>
        </p:txBody>
      </p:sp>
      <p:pic>
        <p:nvPicPr>
          <p:cNvPr id="22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901" y="51169"/>
            <a:ext cx="652447" cy="652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8047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C4C632D-B8C6-42E2-A9F9-5C7B1F94E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9108504" cy="823342"/>
          </a:xfr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uk-UA" sz="36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 КЛЮЧОВІ ЗМІНИ</a:t>
            </a:r>
            <a:endParaRPr lang="ru-RU" sz="3600" dirty="0">
              <a:solidFill>
                <a:srgbClr val="00B0F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63D6218-0CE5-4A98-BB7E-1BC412CE1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520" y="1124744"/>
            <a:ext cx="4680521" cy="4968552"/>
          </a:xfrm>
        </p:spPr>
        <p:txBody>
          <a:bodyPr>
            <a:normAutofit lnSpcReduction="10000"/>
          </a:bodyPr>
          <a:lstStyle/>
          <a:p>
            <a:pPr lvl="0" algn="just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Wingdings" panose="05000000000000000000" pitchFamily="2" charset="2"/>
              <a:buChar char="§"/>
            </a:pP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Зміни в рамках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гармонізації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національного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законодавства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зі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стандартами ЄС (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другий-третій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етап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(з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п'яти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)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виконання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“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Дорожньої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карти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”)</a:t>
            </a:r>
          </a:p>
          <a:p>
            <a:pPr lvl="0" algn="just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Wingdings" panose="05000000000000000000" pitchFamily="2" charset="2"/>
              <a:buChar char="§"/>
            </a:pPr>
            <a:endParaRPr lang="ru-RU" sz="2200" dirty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  <a:sym typeface="Calibri"/>
            </a:endParaRPr>
          </a:p>
          <a:p>
            <a:pPr lvl="0" algn="just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Wingdings" panose="05000000000000000000" pitchFamily="2" charset="2"/>
              <a:buChar char="§"/>
            </a:pP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Зміни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щодо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удосконалення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практики (на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основі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пропозицій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/критики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від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практиків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та  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синхронізація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роботи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електронної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системи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із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законодавством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)</a:t>
            </a:r>
          </a:p>
          <a:p>
            <a:pPr lvl="0" algn="just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Wingdings" panose="05000000000000000000" pitchFamily="2" charset="2"/>
              <a:buChar char="§"/>
            </a:pPr>
            <a:endParaRPr lang="ru-RU" sz="2200" dirty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  <a:sym typeface="Calibri"/>
            </a:endParaRPr>
          </a:p>
          <a:p>
            <a:pPr lvl="0" algn="just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Wingdings" panose="05000000000000000000" pitchFamily="2" charset="2"/>
              <a:buChar char="§"/>
            </a:pP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Зміни,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що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потребують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реалізації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в 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електронній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системі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закупівель</a:t>
            </a:r>
          </a:p>
          <a:p>
            <a:pPr marL="444500" lvl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Wingdings" panose="05000000000000000000" pitchFamily="2" charset="2"/>
              <a:buChar char="§"/>
            </a:pPr>
            <a:endParaRPr lang="ru-RU" sz="2000" dirty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endParaRPr lang="ru-RU" dirty="0"/>
          </a:p>
        </p:txBody>
      </p:sp>
      <p:pic>
        <p:nvPicPr>
          <p:cNvPr id="4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3725" y="2"/>
            <a:ext cx="652772" cy="70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oogle Shape;131;p15"/>
          <p:cNvPicPr preferRelativeResize="0"/>
          <p:nvPr/>
        </p:nvPicPr>
        <p:blipFill rotWithShape="1">
          <a:blip r:embed="rId4" cstate="print">
            <a:alphaModFix/>
          </a:blip>
          <a:srcRect l="13146" r="17813"/>
          <a:stretch/>
        </p:blipFill>
        <p:spPr>
          <a:xfrm>
            <a:off x="4932041" y="823342"/>
            <a:ext cx="4211959" cy="5918025"/>
          </a:xfrm>
          <a:custGeom>
            <a:avLst/>
            <a:gdLst/>
            <a:ahLst/>
            <a:cxnLst/>
            <a:rect l="l" t="t" r="r" b="b"/>
            <a:pathLst>
              <a:path w="6313150" h="6857997" extrusionOk="0">
                <a:moveTo>
                  <a:pt x="65565" y="0"/>
                </a:moveTo>
                <a:lnTo>
                  <a:pt x="6313150" y="0"/>
                </a:lnTo>
                <a:lnTo>
                  <a:pt x="6313150" y="6857997"/>
                </a:lnTo>
                <a:lnTo>
                  <a:pt x="3293946" y="6857997"/>
                </a:lnTo>
                <a:lnTo>
                  <a:pt x="3235857" y="6823061"/>
                </a:lnTo>
                <a:cubicBezTo>
                  <a:pt x="1291240" y="5592803"/>
                  <a:pt x="0" y="3423096"/>
                  <a:pt x="0" y="951803"/>
                </a:cubicBezTo>
                <a:cubicBezTo>
                  <a:pt x="0" y="727140"/>
                  <a:pt x="10673" y="504970"/>
                  <a:pt x="31536" y="285771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96017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C4C632D-B8C6-42E2-A9F9-5C7B1F94E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9108504" cy="823342"/>
          </a:xfr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uk-UA" sz="30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ЗМІНИ ПОВ</a:t>
            </a:r>
            <a:r>
              <a:rPr lang="en-US" sz="30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’</a:t>
            </a:r>
            <a:r>
              <a:rPr lang="uk-UA" sz="30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ЯЗАНІ ІЗ ГАРМОНІЗАЦІЄЮ</a:t>
            </a:r>
            <a:endParaRPr lang="ru-RU" sz="3000" dirty="0">
              <a:solidFill>
                <a:srgbClr val="00B0F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63D6218-0CE5-4A98-BB7E-1BC412CE1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520" y="980728"/>
            <a:ext cx="8640960" cy="5184576"/>
          </a:xfrm>
        </p:spPr>
        <p:txBody>
          <a:bodyPr>
            <a:normAutofit fontScale="92500"/>
          </a:bodyPr>
          <a:lstStyle/>
          <a:p>
            <a:pPr marL="0" lvl="0" indent="0" algn="just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</a:pPr>
            <a:endParaRPr lang="ru-RU" sz="2600" dirty="0">
              <a:solidFill>
                <a:srgbClr val="3668EE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0" lvl="0" indent="0" algn="just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</a:pPr>
            <a:r>
              <a:rPr lang="ru-RU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АНОМАЛЬНО НИЗЬКА ТЕНДЕРНА ПРОПОЗИЦІЯ(АНТП)</a:t>
            </a:r>
          </a:p>
          <a:p>
            <a:pPr marL="0" lvl="0" indent="0" algn="just" defTabSz="9144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</a:pPr>
            <a:r>
              <a:rPr lang="ru-RU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ціна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/приведена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ціна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b="1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на </a:t>
            </a:r>
            <a:r>
              <a:rPr lang="ru-RU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40+% </a:t>
            </a:r>
            <a:r>
              <a:rPr lang="uk-UA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менше 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від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середньої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інших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пропозицій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на початковому </a:t>
            </a:r>
            <a:r>
              <a:rPr lang="uk-UA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етапі аукціону 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ТА/АБО </a:t>
            </a:r>
            <a:r>
              <a:rPr lang="ru-RU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на 30+%</a:t>
            </a:r>
            <a:r>
              <a:rPr lang="en-US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uk-UA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менше</a:t>
            </a:r>
            <a:r>
              <a:rPr lang="ru-RU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від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наступної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кращої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пропозиції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 </a:t>
            </a:r>
            <a:r>
              <a:rPr lang="uk-UA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Визначається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uk-UA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електронною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системою 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автоматично</a:t>
            </a:r>
          </a:p>
          <a:p>
            <a:pPr marL="0" lvl="0" indent="0" algn="just" defTabSz="9144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</a:pPr>
            <a:r>
              <a:rPr lang="ru-RU" sz="2200" b="1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Обґрунтування</a:t>
            </a:r>
            <a:r>
              <a:rPr lang="ru-RU" sz="2200" b="1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АНТП 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може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,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зокрема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містити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інформацію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про:</a:t>
            </a:r>
          </a:p>
          <a:p>
            <a:pPr marL="0" lvl="0" indent="0" algn="just" defTabSz="9144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</a:pP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1)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Застосування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технологічного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(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інноваційного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)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процесу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виробництва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</a:p>
          <a:p>
            <a:pPr marL="0" lvl="0" indent="0" algn="just" defTabSz="9144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</a:pP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2)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сприятливі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умови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 поставки/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робіт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/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послуг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;</a:t>
            </a:r>
          </a:p>
          <a:p>
            <a:pPr marL="0" lvl="0" indent="0" algn="just" defTabSz="9144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</a:pP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3)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отримання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учасником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державної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допомоги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згідно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законодавства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  <a:p>
            <a:pPr marL="0" lvl="0" indent="0" algn="just" defTabSz="9144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</a:pPr>
            <a:endParaRPr lang="ru-RU" sz="2200" dirty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0" lvl="0" indent="0" algn="just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</a:pPr>
            <a:r>
              <a:rPr lang="ru-RU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ВАРТІСТЬ </a:t>
            </a:r>
            <a:r>
              <a:rPr lang="ru-RU" sz="2200" b="1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ЖИТТЄВОГО ЦИКЛУ</a:t>
            </a:r>
          </a:p>
          <a:p>
            <a:pPr marL="0" lvl="0" indent="0" algn="just" defTabSz="9144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</a:pPr>
            <a:r>
              <a:rPr lang="uk-UA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витрати, замовника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під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час </a:t>
            </a:r>
            <a:r>
              <a:rPr lang="ru-RU" sz="2200" b="1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використання</a:t>
            </a:r>
            <a:r>
              <a:rPr lang="ru-RU" sz="2200" b="1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, </a:t>
            </a:r>
            <a:r>
              <a:rPr lang="ru-RU" sz="2200" b="1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обслуговування</a:t>
            </a:r>
            <a:r>
              <a:rPr lang="ru-RU" sz="2200" b="1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та </a:t>
            </a:r>
            <a:r>
              <a:rPr lang="ru-RU" sz="2200" b="1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припинення</a:t>
            </a:r>
            <a:r>
              <a:rPr lang="ru-RU" sz="2200" b="1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b="1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використання</a:t>
            </a:r>
            <a:r>
              <a:rPr lang="ru-RU" sz="2200" b="1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предмета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закупівлі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Розраховуються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відповідно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до методики в 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ТД</a:t>
            </a:r>
            <a:endParaRPr lang="ru-RU" sz="2200" dirty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4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8606" y="0"/>
            <a:ext cx="652772" cy="70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6844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C4C632D-B8C6-42E2-A9F9-5C7B1F94E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9108504" cy="823342"/>
          </a:xfr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uk-UA" sz="30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ЗМІНИ ПОВ</a:t>
            </a:r>
            <a:r>
              <a:rPr lang="en-US" sz="30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’</a:t>
            </a:r>
            <a:r>
              <a:rPr lang="uk-UA" sz="30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ЯЗАНІ ІЗ ГАРМОНІЗАЦІЄЮ</a:t>
            </a:r>
            <a:endParaRPr lang="ru-RU" sz="3000" dirty="0">
              <a:solidFill>
                <a:srgbClr val="00B0F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63D6218-0CE5-4A98-BB7E-1BC412CE1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512" y="980728"/>
            <a:ext cx="8712968" cy="5544616"/>
          </a:xfrm>
        </p:spPr>
        <p:txBody>
          <a:bodyPr>
            <a:noAutofit/>
          </a:bodyPr>
          <a:lstStyle/>
          <a:p>
            <a:pPr marL="0" lvl="0" indent="0" algn="just" defTabSz="9144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</a:pPr>
            <a:r>
              <a:rPr lang="ru-RU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КВАЛІФІКАЦІЙНІ ВИМОГИ</a:t>
            </a:r>
            <a:endParaRPr lang="en-US" sz="2200" b="1" dirty="0" smtClean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50800" lvl="0" indent="0" algn="just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</a:pPr>
            <a:r>
              <a:rPr lang="ru-RU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 </a:t>
            </a:r>
            <a:r>
              <a:rPr lang="uk-UA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+ КРИТЕРІЙ «ФІНАНСОВА СПРОМОЖНІСТЬ», </a:t>
            </a:r>
            <a:r>
              <a:rPr lang="uk-UA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яка підтверджується  фін. Звітністю. ЗАБОРОНЕНО вимагати наявність «річного доходу (виручка)» більше ніж очікувана вартість </a:t>
            </a:r>
            <a:endParaRPr lang="uk-UA" sz="2200" b="1" dirty="0" smtClean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  <a:sym typeface="Calibri"/>
            </a:endParaRPr>
          </a:p>
          <a:p>
            <a:pPr marL="50800" lvl="0" indent="0" algn="just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</a:pPr>
            <a:r>
              <a:rPr lang="uk-UA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РЕСУРС СУБПІДРЯДНИКІВ </a:t>
            </a:r>
            <a:r>
              <a:rPr lang="uk-UA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- у випадку закупівлі робіт або послуг у разі встановлення кваліфікаційних критеріїв:</a:t>
            </a:r>
          </a:p>
          <a:p>
            <a:pPr marL="393700" lvl="0" algn="just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Wingdings" panose="05000000000000000000" pitchFamily="2" charset="2"/>
              <a:buChar char="§"/>
            </a:pPr>
            <a:r>
              <a:rPr lang="uk-UA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наявність обладнання, матеріально-технічної бази та технологій у випадку закупівлі робіт або послуг.</a:t>
            </a:r>
          </a:p>
          <a:p>
            <a:pPr marL="393700" lvl="0" algn="just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Wingdings" panose="05000000000000000000" pitchFamily="2" charset="2"/>
              <a:buChar char="§"/>
            </a:pPr>
            <a:r>
              <a:rPr lang="uk-UA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наявність працівників, які мають необхідні знання та досвід.</a:t>
            </a:r>
          </a:p>
          <a:p>
            <a:pPr marL="360363" lvl="0" indent="-309563" algn="just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</a:pPr>
            <a:endParaRPr lang="ru-RU" sz="2200" dirty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  <a:sym typeface="Calibri"/>
            </a:endParaRPr>
          </a:p>
          <a:p>
            <a:pPr marL="0" lvl="0" indent="0" algn="just" defTabSz="9144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</a:pPr>
            <a:r>
              <a:rPr lang="uk-UA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НЕВИКОНАННЯ УМОВ ЗА ПОПЕРЕДНІМ ДОГОВОРОМ </a:t>
            </a:r>
            <a:r>
              <a:rPr lang="uk-UA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 замовник може відхилити учасника, який не виконав умови за попереднім договором про закупівлю, що призвело до його дострокового розірвання, завдання збитків чи застосування санкцій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  <a:endParaRPr lang="ru-RU" sz="2200" dirty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4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8606" y="0"/>
            <a:ext cx="652772" cy="70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1763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C4C632D-B8C6-42E2-A9F9-5C7B1F94E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9108504" cy="823342"/>
          </a:xfr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uk-UA" sz="30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ЗМІНИ ПОВ</a:t>
            </a:r>
            <a:r>
              <a:rPr lang="en-US" sz="30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’</a:t>
            </a:r>
            <a:r>
              <a:rPr lang="uk-UA" sz="30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ЯЗАНІ ІЗ ГАРМОНІЗАЦІЄЮ</a:t>
            </a:r>
            <a:endParaRPr lang="ru-RU" sz="3000" dirty="0">
              <a:solidFill>
                <a:srgbClr val="00B0F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63D6218-0CE5-4A98-BB7E-1BC412CE1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520" y="1124744"/>
            <a:ext cx="8640960" cy="5400600"/>
          </a:xfrm>
        </p:spPr>
        <p:txBody>
          <a:bodyPr>
            <a:normAutofit/>
          </a:bodyPr>
          <a:lstStyle/>
          <a:p>
            <a:pPr marL="12700" lvl="0" indent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None/>
            </a:pPr>
            <a:r>
              <a:rPr lang="uk-UA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Calibri"/>
              </a:rPr>
              <a:t>ТОРГИ З ОБМЕЖЕНОЮ УЧАСТЮ</a:t>
            </a:r>
          </a:p>
          <a:p>
            <a:pPr marL="12700" lvl="0" indent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None/>
            </a:pPr>
            <a:endParaRPr lang="uk-UA" sz="2200" b="1" dirty="0" smtClean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  <a:sym typeface="Calibri"/>
            </a:endParaRPr>
          </a:p>
          <a:p>
            <a:pPr marL="355600" lvl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У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разі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потреби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попередньої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перевірки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кваліфікації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учасників</a:t>
            </a:r>
            <a:endParaRPr lang="ru-RU" sz="2200" dirty="0" smtClean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355600" lvl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endParaRPr lang="ru-RU" sz="2200" dirty="0" smtClean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35560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uk-UA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Застосовуються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всі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кваліфікаційні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критерії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endParaRPr lang="ru-RU" sz="2200" dirty="0" smtClean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35560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endParaRPr lang="ru-RU" sz="2200" dirty="0" smtClean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35560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К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ількість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учасників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але 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не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менше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4</a:t>
            </a:r>
          </a:p>
          <a:p>
            <a:pPr marL="35560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endParaRPr lang="ru-RU" sz="2200" dirty="0" smtClean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355600" lvl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Другий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етап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ТзОУ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--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беруть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участь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лише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запрошені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за результатами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кваліфікаційного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відбору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, а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оцінка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і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розгляд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– за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логікою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та алгоритмом «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українського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аукціону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» </a:t>
            </a:r>
          </a:p>
          <a:p>
            <a:pPr marL="12700" lvl="0" indent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None/>
            </a:pPr>
            <a:endParaRPr lang="ru-RU" sz="2200" dirty="0">
              <a:solidFill>
                <a:srgbClr val="3668EE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4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8606" y="0"/>
            <a:ext cx="652772" cy="70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4672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C4C632D-B8C6-42E2-A9F9-5C7B1F94E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9108504" cy="823342"/>
          </a:xfr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uk-UA" sz="30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ЗМІНИ ПОВ</a:t>
            </a:r>
            <a:r>
              <a:rPr lang="en-US" sz="30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’</a:t>
            </a:r>
            <a:r>
              <a:rPr lang="uk-UA" sz="30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ЯЗАНІ ІЗ ГАРМОНІЗАЦІЄЮ</a:t>
            </a:r>
            <a:endParaRPr lang="ru-RU" sz="3000" dirty="0">
              <a:solidFill>
                <a:srgbClr val="00B0F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63D6218-0CE5-4A98-BB7E-1BC412CE1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520" y="1124744"/>
            <a:ext cx="8640960" cy="5400600"/>
          </a:xfrm>
        </p:spPr>
        <p:txBody>
          <a:bodyPr>
            <a:normAutofit/>
          </a:bodyPr>
          <a:lstStyle/>
          <a:p>
            <a:pPr marL="12700" lvl="0" indent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None/>
            </a:pPr>
            <a:r>
              <a:rPr lang="ru-RU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АПГРЕЙД ІСНУЮЧИХ ПРОЦЕДУР:</a:t>
            </a:r>
            <a:r>
              <a:rPr lang="en-US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endParaRPr lang="uk-UA" sz="2200" b="1" dirty="0" smtClean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  <a:sym typeface="Calibri"/>
            </a:endParaRPr>
          </a:p>
          <a:p>
            <a:pPr marL="12700" lvl="0" indent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None/>
            </a:pPr>
            <a:endParaRPr lang="uk-UA" sz="2200" b="1" dirty="0" smtClean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  <a:sym typeface="Calibri"/>
            </a:endParaRPr>
          </a:p>
          <a:p>
            <a:pPr marL="12700" lvl="0" indent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None/>
            </a:pPr>
            <a:r>
              <a:rPr lang="ru-RU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КОНКУРЕНТНИЙ ДІАЛОГ -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изначення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имог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до предмета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купівлі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отребує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ереговорів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;</a:t>
            </a:r>
            <a:endParaRPr lang="ru-RU" sz="22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12700" lvl="0" indent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None/>
            </a:pP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иконання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договору про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купівлю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ередбачає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розробку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проекту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иконання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робіт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(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надання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ослуг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);</a:t>
            </a:r>
          </a:p>
          <a:p>
            <a:pPr marL="12700" lvl="0" indent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None/>
            </a:pP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мовник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не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може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изначити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точну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технічну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специфікацію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з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икористанням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наявних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технічних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стандартів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.</a:t>
            </a:r>
          </a:p>
          <a:p>
            <a:pPr marL="12700" lvl="0" indent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None/>
            </a:pPr>
            <a:endParaRPr lang="ru-RU" sz="22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12700" lvl="0" indent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None/>
            </a:pPr>
            <a:r>
              <a:rPr lang="ru-RU" sz="2200" b="1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ЕРЕГОВОРНА ПРОЦЕДУРА +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2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додаткові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ідстави</a:t>
            </a:r>
            <a:endParaRPr lang="ru-RU" sz="22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0" lvl="0" indent="0" algn="just" defTabSz="9144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None/>
            </a:pP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Arial"/>
              </a:rPr>
              <a:t>укладення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Arial"/>
              </a:rPr>
              <a:t> 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Arial"/>
              </a:rPr>
              <a:t>договору з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Arial"/>
              </a:rPr>
              <a:t>постачальником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Arial"/>
              </a:rPr>
              <a:t> “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Arial"/>
              </a:rPr>
              <a:t>останньої</a:t>
            </a:r>
            <a:r>
              <a:rPr lang="ru-RU" sz="22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Arial"/>
              </a:rPr>
              <a:t> </a:t>
            </a:r>
            <a:r>
              <a:rPr lang="ru-RU" sz="2200" dirty="0" err="1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Arial"/>
              </a:rPr>
              <a:t>надії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sym typeface="Arial"/>
              </a:rPr>
              <a:t>”;</a:t>
            </a:r>
            <a:endParaRPr lang="ru-RU" sz="2200" dirty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  <a:sym typeface="Arial"/>
            </a:endParaRPr>
          </a:p>
          <a:p>
            <a:pPr marL="0" lvl="0" indent="0" algn="just" defTabSz="9144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None/>
            </a:pPr>
            <a:r>
              <a:rPr lang="ru-RU" sz="2200" kern="1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ри </a:t>
            </a:r>
            <a:r>
              <a:rPr lang="ru-RU" sz="2200" kern="1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розірванні</a:t>
            </a:r>
            <a:r>
              <a:rPr lang="ru-RU" sz="2200" kern="1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kern="1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договору про </a:t>
            </a:r>
            <a:r>
              <a:rPr lang="ru-RU" sz="2200" kern="1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купівлю</a:t>
            </a:r>
            <a:r>
              <a:rPr lang="ru-RU" sz="2200" kern="1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з вини </a:t>
            </a:r>
            <a:r>
              <a:rPr lang="ru-RU" sz="2200" kern="1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учасника</a:t>
            </a:r>
            <a:r>
              <a:rPr lang="ru-RU" sz="2200" kern="1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на строк, </a:t>
            </a:r>
            <a:r>
              <a:rPr lang="ru-RU" sz="2200" kern="1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достатній</a:t>
            </a:r>
            <a:r>
              <a:rPr lang="ru-RU" sz="2200" kern="1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для </a:t>
            </a:r>
            <a:r>
              <a:rPr lang="ru-RU" sz="2200" kern="1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роведення</a:t>
            </a:r>
            <a:r>
              <a:rPr lang="ru-RU" sz="2200" kern="1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kern="1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нової</a:t>
            </a:r>
            <a:r>
              <a:rPr lang="ru-RU" sz="2200" kern="1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kern="1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роцедури</a:t>
            </a:r>
            <a:r>
              <a:rPr lang="ru-RU" sz="2200" kern="1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kern="1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купівлі</a:t>
            </a:r>
            <a:r>
              <a:rPr lang="ru-RU" sz="2200" kern="1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в </a:t>
            </a:r>
            <a:r>
              <a:rPr lang="ru-RU" sz="2200" kern="1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обсязі</a:t>
            </a:r>
            <a:r>
              <a:rPr lang="ru-RU" sz="2200" kern="1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, </a:t>
            </a:r>
            <a:r>
              <a:rPr lang="ru-RU" sz="2200" kern="1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що</a:t>
            </a:r>
            <a:r>
              <a:rPr lang="ru-RU" sz="2200" kern="1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не </a:t>
            </a:r>
            <a:r>
              <a:rPr lang="ru-RU" sz="2200" kern="12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еревищує</a:t>
            </a:r>
            <a:r>
              <a:rPr lang="ru-RU" sz="2200" kern="12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20</a:t>
            </a:r>
            <a:r>
              <a:rPr lang="ru-RU" sz="2200" kern="1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%</a:t>
            </a:r>
            <a:endParaRPr lang="ru-RU" sz="2200" dirty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4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8606" y="0"/>
            <a:ext cx="652772" cy="70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5945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C4C632D-B8C6-42E2-A9F9-5C7B1F94E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9108504" cy="823342"/>
          </a:xfr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r>
              <a:rPr lang="uk-UA" sz="26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    УДОСКОНАЛЕННЯ МЕХАНІЗМУ ОСКАРЖЕННЯ</a:t>
            </a:r>
            <a:endParaRPr lang="ru-RU" sz="2600" dirty="0">
              <a:solidFill>
                <a:srgbClr val="00B0F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63D6218-0CE5-4A98-BB7E-1BC412CE1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520" y="1124744"/>
            <a:ext cx="8640960" cy="4752528"/>
          </a:xfrm>
        </p:spPr>
        <p:txBody>
          <a:bodyPr>
            <a:noAutofit/>
          </a:bodyPr>
          <a:lstStyle/>
          <a:p>
            <a:pPr marL="355600" lvl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Оплата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скарги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через систему;</a:t>
            </a:r>
          </a:p>
          <a:p>
            <a:pPr marL="35560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Розмір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плати за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подання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скарги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визначається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КМУ;</a:t>
            </a:r>
          </a:p>
          <a:p>
            <a:pPr marL="355600" lvl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Повернення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плати у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випадку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задоволення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скарги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АБО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залишення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її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без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розгляду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АМКУ через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усунення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порушень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замовником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;</a:t>
            </a:r>
          </a:p>
          <a:p>
            <a:pPr marL="355600" lvl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Антитролінг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=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неможливість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ідкликати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скаргу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;</a:t>
            </a:r>
          </a:p>
          <a:p>
            <a:pPr marL="35560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Оскарження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окремо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лотів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у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багатолотових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закупівлях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;</a:t>
            </a:r>
          </a:p>
          <a:p>
            <a:pPr marL="355600" lvl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Оскарження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відміни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процедури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та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відхилення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всіх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пропозицій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;</a:t>
            </a:r>
          </a:p>
          <a:p>
            <a:pPr marL="35560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Відшкодування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збитків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суб'єкту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оскарження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через суд</a:t>
            </a:r>
          </a:p>
          <a:p>
            <a:pPr marL="355600" lvl="0" algn="just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5496"/>
              </a:buClr>
              <a:buSzPts val="2200"/>
              <a:buFont typeface="Wingdings" panose="05000000000000000000" pitchFamily="2" charset="2"/>
              <a:buChar char="§"/>
            </a:pP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Неможливість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відмінити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закупівлю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у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період</a:t>
            </a:r>
            <a:r>
              <a:rPr lang="ru-RU" sz="22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 </a:t>
            </a:r>
            <a:r>
              <a:rPr lang="ru-RU" sz="22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оскарження</a:t>
            </a:r>
            <a:endParaRPr lang="ru-RU" sz="2200" dirty="0" smtClean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  <a:sym typeface="Calibri"/>
            </a:endParaRPr>
          </a:p>
        </p:txBody>
      </p:sp>
      <p:pic>
        <p:nvPicPr>
          <p:cNvPr id="4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8606" y="0"/>
            <a:ext cx="652772" cy="70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7125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5275" y="5229200"/>
            <a:ext cx="8079173" cy="546763"/>
          </a:xfrm>
          <a:ln>
            <a:solidFill>
              <a:srgbClr val="FFC000"/>
            </a:solidFill>
          </a:ln>
        </p:spPr>
        <p:txBody>
          <a:bodyPr/>
          <a:lstStyle/>
          <a:p>
            <a:pPr algn="ctr"/>
            <a:r>
              <a:rPr lang="uk-UA" sz="2800" dirty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о</a:t>
            </a:r>
            <a:r>
              <a:rPr lang="uk-UA" sz="28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дин учасник – одна вимога про усунення</a:t>
            </a:r>
            <a:endParaRPr lang="en-US" sz="2800" dirty="0">
              <a:solidFill>
                <a:srgbClr val="0070C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body" sz="half" idx="2"/>
          </p:nvPr>
        </p:nvSpPr>
        <p:spPr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68569" tIns="34275" rIns="68569" bIns="34275" numCol="1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spcBef>
                <a:spcPct val="50000"/>
              </a:spcBef>
              <a:buNone/>
            </a:pPr>
            <a:r>
              <a:rPr lang="uk-UA" altLang="uk-UA" sz="2100" dirty="0">
                <a:solidFill>
                  <a:srgbClr val="0070C0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-1" y="0"/>
            <a:ext cx="9136861" cy="764704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uk-UA" sz="2700" b="1" dirty="0">
                <a:solidFill>
                  <a:srgbClr val="0099CC"/>
                </a:solidFill>
                <a:latin typeface="Century Gothic" panose="020B0502020202020204" pitchFamily="34" charset="0"/>
              </a:rPr>
              <a:t> </a:t>
            </a:r>
            <a:r>
              <a:rPr lang="uk-UA" sz="3600" b="1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«24 години»</a:t>
            </a:r>
            <a:endParaRPr lang="en-US" sz="3600" b="1" dirty="0">
              <a:solidFill>
                <a:srgbClr val="00B0F0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1" name="Выноска со стрелкой вправо 10"/>
          <p:cNvSpPr/>
          <p:nvPr/>
        </p:nvSpPr>
        <p:spPr>
          <a:xfrm>
            <a:off x="525275" y="2070630"/>
            <a:ext cx="2351314" cy="2290082"/>
          </a:xfrm>
          <a:prstGeom prst="rightArrowCallout">
            <a:avLst/>
          </a:prstGeom>
          <a:solidFill>
            <a:srgbClr val="88D5E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altLang="uk-UA" dirty="0">
                <a:solidFill>
                  <a:srgbClr val="0070C0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Замовник розміщує вимогу в </a:t>
            </a:r>
            <a:r>
              <a:rPr lang="uk-UA" altLang="uk-UA" dirty="0" err="1">
                <a:solidFill>
                  <a:srgbClr val="0070C0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Прозорро</a:t>
            </a:r>
            <a:endParaRPr lang="uk-UA" dirty="0"/>
          </a:p>
        </p:txBody>
      </p:sp>
      <p:sp>
        <p:nvSpPr>
          <p:cNvPr id="12" name="Выноска со стрелкой влево 11"/>
          <p:cNvSpPr/>
          <p:nvPr/>
        </p:nvSpPr>
        <p:spPr>
          <a:xfrm>
            <a:off x="6129440" y="2152975"/>
            <a:ext cx="2475008" cy="2257506"/>
          </a:xfrm>
          <a:prstGeom prst="leftArrowCallout">
            <a:avLst/>
          </a:prstGeom>
          <a:solidFill>
            <a:srgbClr val="88D5E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altLang="uk-UA" dirty="0">
                <a:solidFill>
                  <a:srgbClr val="0070C0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Учасник за  1р.д. виправляє помилки</a:t>
            </a:r>
            <a:endParaRPr lang="uk-UA" dirty="0"/>
          </a:p>
        </p:txBody>
      </p:sp>
      <p:sp>
        <p:nvSpPr>
          <p:cNvPr id="19" name="Блок-схема: несколько документов 18"/>
          <p:cNvSpPr/>
          <p:nvPr/>
        </p:nvSpPr>
        <p:spPr>
          <a:xfrm>
            <a:off x="3539216" y="2152975"/>
            <a:ext cx="1896879" cy="2290082"/>
          </a:xfrm>
          <a:prstGeom prst="flowChartMultidocument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lang="uk-UA" altLang="uk-UA" sz="135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відповідність за статтями 16 та 17;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uk-UA" sz="135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підтвердження права </a:t>
            </a:r>
            <a:r>
              <a:rPr lang="uk-UA" sz="135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підпису </a:t>
            </a:r>
            <a:r>
              <a:rPr lang="uk-UA" sz="135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endParaRPr lang="uk-UA" altLang="uk-UA" sz="1350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  <a:cs typeface="Calibri Light" panose="020F0302020204030204" pitchFamily="34" charset="0"/>
            </a:endParaRPr>
          </a:p>
          <a:p>
            <a:pPr algn="ctr"/>
            <a:endParaRPr lang="uk-UA" sz="1350" dirty="0"/>
          </a:p>
        </p:txBody>
      </p:sp>
      <p:pic>
        <p:nvPicPr>
          <p:cNvPr id="8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3968" y="0"/>
            <a:ext cx="704307" cy="704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1717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C4C632D-B8C6-42E2-A9F9-5C7B1F94E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4704"/>
          </a:xfr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3200" dirty="0" err="1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в</a:t>
            </a:r>
            <a:r>
              <a:rPr lang="ru-RU" sz="3200" dirty="0" err="1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ідхилення</a:t>
            </a:r>
            <a:r>
              <a:rPr lang="ru-RU" sz="3200" dirty="0" smtClean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 </a:t>
            </a:r>
            <a:r>
              <a:rPr lang="ru-RU" sz="3200" dirty="0" err="1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тендерних</a:t>
            </a:r>
            <a:r>
              <a:rPr lang="ru-RU" sz="3200" dirty="0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 </a:t>
            </a:r>
            <a:r>
              <a:rPr lang="ru-RU" sz="3200" dirty="0" err="1">
                <a:solidFill>
                  <a:srgbClr val="00B0F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Calibri" panose="020F0502020204030204" pitchFamily="34" charset="0"/>
              </a:rPr>
              <a:t>пропозицій</a:t>
            </a:r>
            <a:endParaRPr lang="ru-RU" sz="3200" dirty="0">
              <a:solidFill>
                <a:srgbClr val="00B0F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63D6218-0CE5-4A98-BB7E-1BC412CE1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5576" y="934720"/>
            <a:ext cx="7362512" cy="5811520"/>
          </a:xfrm>
        </p:spPr>
        <p:txBody>
          <a:bodyPr>
            <a:normAutofit lnSpcReduction="10000"/>
          </a:bodyPr>
          <a:lstStyle/>
          <a:p>
            <a:pPr marL="1168400" lvl="0" indent="-98425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None/>
            </a:pPr>
            <a:r>
              <a:rPr lang="ru-RU" sz="20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      </a:t>
            </a:r>
            <a:r>
              <a:rPr lang="en-US" sz="20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       </a:t>
            </a:r>
            <a:r>
              <a:rPr lang="ru-RU" sz="2000" dirty="0" smtClean="0">
                <a:solidFill>
                  <a:srgbClr val="0070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ТП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учасника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:</a:t>
            </a:r>
            <a:endParaRPr lang="en-US" sz="20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  <a:sym typeface="Calibri"/>
            </a:endParaRPr>
          </a:p>
          <a:p>
            <a:pPr marL="1168400" indent="-98425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Font typeface="Wingdings" panose="05000000000000000000" pitchFamily="2" charset="2"/>
              <a:buChar char="§"/>
            </a:pPr>
            <a:r>
              <a:rPr lang="uk-UA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значив недостовірну інформацію</a:t>
            </a:r>
          </a:p>
          <a:p>
            <a:pPr marL="1168400" indent="-98425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Font typeface="Wingdings" panose="05000000000000000000" pitchFamily="2" charset="2"/>
              <a:buChar char="§"/>
            </a:pPr>
            <a:r>
              <a:rPr lang="uk-UA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ідмовився виправити помилки (невідповідності)</a:t>
            </a:r>
            <a:endParaRPr lang="en-US" sz="20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1168400" indent="-98425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Font typeface="Wingdings" panose="05000000000000000000" pitchFamily="2" charset="2"/>
              <a:buChar char="§"/>
            </a:pPr>
            <a:r>
              <a:rPr lang="uk-UA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изначив конфіденційною інформацію, яка не може бути</a:t>
            </a:r>
            <a:r>
              <a:rPr lang="en-US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uk-UA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изначена як конфіденційна</a:t>
            </a:r>
          </a:p>
          <a:p>
            <a:pPr marL="457200" indent="-35560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Font typeface="Wingdings" panose="05000000000000000000" pitchFamily="2" charset="2"/>
              <a:buChar char="§"/>
            </a:pPr>
            <a:endParaRPr lang="uk-UA" sz="20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101600" indent="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None/>
            </a:pP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ОКРЕМО</a:t>
            </a:r>
            <a:r>
              <a:rPr lang="ru-RU" sz="2000" b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  <a:sym typeface="Calibri"/>
              </a:rPr>
              <a:t>!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тендерна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ропозиція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учасника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не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ідповідає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умовам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технічної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специфікації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та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іншим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имогам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щодо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предмету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купівлі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тендерної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i="1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документації</a:t>
            </a:r>
            <a:r>
              <a:rPr lang="ru-RU" sz="2000" i="1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.</a:t>
            </a:r>
          </a:p>
          <a:p>
            <a:pPr marL="101600" indent="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None/>
            </a:pPr>
            <a:endParaRPr lang="ru-RU" sz="2000" i="1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182562" lvl="0" indent="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None/>
            </a:pP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	</a:t>
            </a:r>
            <a:r>
              <a:rPr lang="ru-RU" sz="20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	    ТП </a:t>
            </a:r>
            <a:r>
              <a:rPr lang="ru-RU" sz="2000" dirty="0" err="1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ереможця</a:t>
            </a:r>
            <a:r>
              <a:rPr lang="ru-RU" sz="2000" dirty="0" smtClean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:</a:t>
            </a:r>
            <a:endParaRPr lang="ru-RU" sz="2000" dirty="0">
              <a:solidFill>
                <a:srgbClr val="0070C0"/>
              </a:solidFill>
              <a:latin typeface="Segoe UI Semilight" panose="020B0402040204020203" pitchFamily="34" charset="0"/>
              <a:ea typeface="Calibri"/>
              <a:cs typeface="Segoe UI Semilight" panose="020B0402040204020203" pitchFamily="34" charset="0"/>
            </a:endParaRPr>
          </a:p>
          <a:p>
            <a:pPr marL="1168400" lvl="0" indent="-985838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Font typeface="Wingdings" panose="05000000000000000000" pitchFamily="2" charset="2"/>
              <a:buChar char="§"/>
            </a:pP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ереможець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ідмовився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ідписати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договір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ідповідно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до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имог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тендерної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документації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; </a:t>
            </a:r>
          </a:p>
          <a:p>
            <a:pPr marL="1168400" lvl="0" indent="-985838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Font typeface="Wingdings" panose="05000000000000000000" pitchFamily="2" charset="2"/>
              <a:buChar char="§"/>
            </a:pP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неукладення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договору про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купівлю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з вини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учасника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;</a:t>
            </a:r>
          </a:p>
          <a:p>
            <a:pPr marL="1168400" lvl="0" indent="-985838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Font typeface="Wingdings" panose="05000000000000000000" pitchFamily="2" charset="2"/>
              <a:buChar char="§"/>
            </a:pP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ненадання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замовнику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підписаного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договору у строк,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визначений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</a:t>
            </a:r>
            <a:r>
              <a:rPr lang="ru-RU" sz="2000" dirty="0" err="1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цим</a:t>
            </a:r>
            <a:r>
              <a:rPr lang="ru-RU" sz="2000" dirty="0">
                <a:solidFill>
                  <a:srgbClr val="0070C0"/>
                </a:solidFill>
                <a:latin typeface="Segoe UI Semilight" panose="020B0402040204020203" pitchFamily="34" charset="0"/>
                <a:ea typeface="Calibri"/>
                <a:cs typeface="Segoe UI Semilight" panose="020B0402040204020203" pitchFamily="34" charset="0"/>
              </a:rPr>
              <a:t> Законом.</a:t>
            </a:r>
          </a:p>
          <a:p>
            <a:pPr marL="101600" indent="0" algn="just">
              <a:spcBef>
                <a:spcPts val="600"/>
              </a:spcBef>
              <a:spcAft>
                <a:spcPts val="0"/>
              </a:spcAft>
              <a:buClr>
                <a:srgbClr val="2F5496"/>
              </a:buClr>
              <a:buSzPts val="2000"/>
              <a:buNone/>
            </a:pPr>
            <a:endParaRPr lang="ru-RU" sz="2000" i="1" dirty="0">
              <a:solidFill>
                <a:srgbClr val="2F5496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ru-RU" dirty="0"/>
          </a:p>
        </p:txBody>
      </p:sp>
      <p:pic>
        <p:nvPicPr>
          <p:cNvPr id="4" name="Picture 2" descr="D:\ПРОЗОРО\PROZORRО\КОНФЕРЕНЦІЯ -Ліля-презентація\Logo_of_Ministry_of_Economic_Development_and_Trade_of_Ukraine_1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5425" y="56129"/>
            <a:ext cx="708575" cy="708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Google Shape;177;p22"/>
          <p:cNvSpPr/>
          <p:nvPr/>
        </p:nvSpPr>
        <p:spPr>
          <a:xfrm rot="10800000" flipH="1">
            <a:off x="1043608" y="1052736"/>
            <a:ext cx="451500" cy="225600"/>
          </a:xfrm>
          <a:prstGeom prst="rightArrow">
            <a:avLst>
              <a:gd name="adj1" fmla="val 50000"/>
              <a:gd name="adj2" fmla="val 90046"/>
            </a:avLst>
          </a:prstGeom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fontAlgn="base"/>
            <a:endParaRPr>
              <a:solidFill>
                <a:srgbClr val="000000"/>
              </a:solidFill>
            </a:endParaRPr>
          </a:p>
        </p:txBody>
      </p:sp>
      <p:sp>
        <p:nvSpPr>
          <p:cNvPr id="11" name="Google Shape;177;p22"/>
          <p:cNvSpPr/>
          <p:nvPr/>
        </p:nvSpPr>
        <p:spPr>
          <a:xfrm rot="10800000" flipH="1">
            <a:off x="1043607" y="4293096"/>
            <a:ext cx="451500" cy="216024"/>
          </a:xfrm>
          <a:prstGeom prst="rightArrow">
            <a:avLst>
              <a:gd name="adj1" fmla="val 50000"/>
              <a:gd name="adj2" fmla="val 90046"/>
            </a:avLst>
          </a:prstGeom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fontAlgn="base"/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018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WlfGnxbkiTnMZp0nGgz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z1JXpsIkyH37HGafiX.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WlfGnxbkiTnMZp0nGgz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GdkmCNlUmee51.icbB8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_bjbLHVUult6kdXW1A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19kSG7Qke9QzscCyqm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KLuxu5BEGlApd0vVTJ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HvVYlUwEiqiHkNQ3SJ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zlgd.vLkmfUTm9YDMa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SIQX8rhkSRtEi3Xm1oP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WlfGnxbkiTnMZp0nGgz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WlfGnxbkiTnMZp0nGgz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KLuxu5BEGlApd0vVTJ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SIQX8rhkSRtEi3Xm1o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GBbEbOsEatimIYcqQnM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CWa_RZtUq10akUwXBY6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o3vBEmP0aLy9m6IHGh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XdX2eTt0ONBRXodE0x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xLLTkBLUeRJUiw75FtZ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z1JXpsIkyH37HGafiX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GBbEbOsEatimIYcqQnM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CWa_RZtUq10akUwXBY6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GdkmCNlUmee51.icbB8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_bjbLHVUult6kdXW1Ay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19kSG7Qke9QzscCyqmN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HvVYlUwEiqiHkNQ3SJ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o3vBEmP0aLy9m6IHGhr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zlgd.vLkmfUTm9YDMa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XdX2eTt0ONBRXodE0x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xLLTkBLUeRJUiw75FtZw"/>
</p:tagLst>
</file>

<file path=ppt/theme/theme1.xml><?xml version="1.0" encoding="utf-8"?>
<a:theme xmlns:a="http://schemas.openxmlformats.org/drawingml/2006/main" name="13_Тема Office">
  <a:themeElements>
    <a:clrScheme name="Тема Office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Тема Office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rgbClr val="000099"/>
          </a:solidFill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4_Тема Office">
  <a:themeElements>
    <a:clrScheme name="Тема Office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Тема Office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rgbClr val="000099"/>
          </a:solidFill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Accession to PEM (aug 2016)_KMU">
  <a:themeElements>
    <a:clrScheme name="1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_Office Theme">
      <a:majorFont>
        <a:latin typeface="Helvetica Neue UltraLight"/>
        <a:ea typeface="MS PGothic"/>
        <a:cs typeface=""/>
      </a:majorFont>
      <a:minorFont>
        <a:latin typeface="Helvetica Neue UltraLight"/>
        <a:ea typeface="MS PGothic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10</TotalTime>
  <Words>669</Words>
  <Application>Microsoft Office PowerPoint</Application>
  <PresentationFormat>Экран (4:3)</PresentationFormat>
  <Paragraphs>103</Paragraphs>
  <Slides>11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9" baseType="lpstr">
      <vt:lpstr>MS PGothic</vt:lpstr>
      <vt:lpstr>Arial</vt:lpstr>
      <vt:lpstr>Arial Narrow</vt:lpstr>
      <vt:lpstr>Calibri</vt:lpstr>
      <vt:lpstr>Calibri Light</vt:lpstr>
      <vt:lpstr>Century Gothic</vt:lpstr>
      <vt:lpstr>Helvetica Neue UltraLight</vt:lpstr>
      <vt:lpstr>Open Sans</vt:lpstr>
      <vt:lpstr>Segoe UI</vt:lpstr>
      <vt:lpstr>Segoe UI Black</vt:lpstr>
      <vt:lpstr>Segoe UI Semilight</vt:lpstr>
      <vt:lpstr>Tahoma</vt:lpstr>
      <vt:lpstr>Times New Roman</vt:lpstr>
      <vt:lpstr>Wingdings</vt:lpstr>
      <vt:lpstr>13_Тема Office</vt:lpstr>
      <vt:lpstr>14_Тема Office</vt:lpstr>
      <vt:lpstr>Accession to PEM (aug 2016)_KMU</vt:lpstr>
      <vt:lpstr>think-cell Slide</vt:lpstr>
      <vt:lpstr>   Нова редакція Закону «Про публічні закупівлі»  Лілія Лахтіонова   </vt:lpstr>
      <vt:lpstr> КЛЮЧОВІ ЗМІНИ</vt:lpstr>
      <vt:lpstr>ЗМІНИ ПОВ’ЯЗАНІ ІЗ ГАРМОНІЗАЦІЄЮ</vt:lpstr>
      <vt:lpstr>ЗМІНИ ПОВ’ЯЗАНІ ІЗ ГАРМОНІЗАЦІЄЮ</vt:lpstr>
      <vt:lpstr>ЗМІНИ ПОВ’ЯЗАНІ ІЗ ГАРМОНІЗАЦІЄЮ</vt:lpstr>
      <vt:lpstr>ЗМІНИ ПОВ’ЯЗАНІ ІЗ ГАРМОНІЗАЦІЄЮ</vt:lpstr>
      <vt:lpstr>    УДОСКОНАЛЕННЯ МЕХАНІЗМУ ОСКАРЖЕННЯ</vt:lpstr>
      <vt:lpstr>один учасник – одна вимога про усунення</vt:lpstr>
      <vt:lpstr>відхилення тендерних пропозицій</vt:lpstr>
      <vt:lpstr>важливі зміни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310</dc:creator>
  <cp:lastModifiedBy>Діна Серебрянська</cp:lastModifiedBy>
  <cp:revision>140</cp:revision>
  <cp:lastPrinted>2016-09-19T07:37:42Z</cp:lastPrinted>
  <dcterms:created xsi:type="dcterms:W3CDTF">2016-04-24T10:37:51Z</dcterms:created>
  <dcterms:modified xsi:type="dcterms:W3CDTF">2019-06-21T08:44:29Z</dcterms:modified>
</cp:coreProperties>
</file>